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729" r:id="rId5"/>
  </p:sldMasterIdLst>
  <p:notesMasterIdLst>
    <p:notesMasterId r:id="rId81"/>
  </p:notesMasterIdLst>
  <p:handoutMasterIdLst>
    <p:handoutMasterId r:id="rId82"/>
  </p:handoutMasterIdLst>
  <p:sldIdLst>
    <p:sldId id="3376" r:id="rId6"/>
    <p:sldId id="1861" r:id="rId7"/>
    <p:sldId id="1583" r:id="rId8"/>
    <p:sldId id="1381" r:id="rId9"/>
    <p:sldId id="1824" r:id="rId10"/>
    <p:sldId id="1118" r:id="rId11"/>
    <p:sldId id="367" r:id="rId12"/>
    <p:sldId id="267" r:id="rId13"/>
    <p:sldId id="268" r:id="rId14"/>
    <p:sldId id="377" r:id="rId15"/>
    <p:sldId id="369" r:id="rId16"/>
    <p:sldId id="370" r:id="rId17"/>
    <p:sldId id="371" r:id="rId18"/>
    <p:sldId id="372" r:id="rId19"/>
    <p:sldId id="373"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16" r:id="rId58"/>
    <p:sldId id="317" r:id="rId59"/>
    <p:sldId id="318" r:id="rId60"/>
    <p:sldId id="319" r:id="rId61"/>
    <p:sldId id="320" r:id="rId62"/>
    <p:sldId id="321" r:id="rId63"/>
    <p:sldId id="322" r:id="rId64"/>
    <p:sldId id="323" r:id="rId65"/>
    <p:sldId id="324" r:id="rId66"/>
    <p:sldId id="325" r:id="rId67"/>
    <p:sldId id="349" r:id="rId68"/>
    <p:sldId id="327" r:id="rId69"/>
    <p:sldId id="328" r:id="rId70"/>
    <p:sldId id="329" r:id="rId71"/>
    <p:sldId id="330" r:id="rId72"/>
    <p:sldId id="331" r:id="rId73"/>
    <p:sldId id="332" r:id="rId74"/>
    <p:sldId id="350" r:id="rId75"/>
    <p:sldId id="333" r:id="rId76"/>
    <p:sldId id="334" r:id="rId77"/>
    <p:sldId id="378" r:id="rId78"/>
    <p:sldId id="335" r:id="rId79"/>
    <p:sldId id="1840" r:id="rId8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KMUG Template" id="{888AB95E-1B7E-4E95-8F39-C5D0E8372BC2}">
          <p14:sldIdLst>
            <p14:sldId id="3376"/>
            <p14:sldId id="1861"/>
            <p14:sldId id="1583"/>
            <p14:sldId id="1381"/>
            <p14:sldId id="1824"/>
            <p14:sldId id="1118"/>
            <p14:sldId id="367"/>
            <p14:sldId id="267"/>
            <p14:sldId id="268"/>
            <p14:sldId id="377"/>
            <p14:sldId id="369"/>
            <p14:sldId id="370"/>
            <p14:sldId id="371"/>
            <p14:sldId id="372"/>
            <p14:sldId id="373"/>
            <p14:sldId id="275"/>
            <p14:sldId id="276"/>
            <p14:sldId id="277"/>
            <p14:sldId id="278"/>
            <p14:sldId id="279"/>
            <p14:sldId id="280"/>
            <p14:sldId id="281"/>
            <p14:sldId id="282"/>
            <p14:sldId id="283"/>
            <p14:sldId id="284"/>
            <p14:sldId id="285"/>
            <p14:sldId id="286"/>
            <p14:sldId id="287"/>
            <p14:sldId id="288"/>
            <p14:sldId id="293"/>
            <p14:sldId id="294"/>
            <p14:sldId id="295"/>
            <p14:sldId id="296"/>
            <p14:sldId id="297"/>
            <p14:sldId id="298"/>
            <p14:sldId id="299"/>
            <p14:sldId id="300"/>
            <p14:sldId id="301"/>
            <p14:sldId id="302"/>
            <p14:sldId id="303"/>
            <p14:sldId id="304"/>
            <p14:sldId id="305"/>
            <p14:sldId id="306"/>
            <p14:sldId id="307"/>
            <p14:sldId id="308"/>
            <p14:sldId id="309"/>
            <p14:sldId id="310"/>
            <p14:sldId id="311"/>
            <p14:sldId id="312"/>
            <p14:sldId id="313"/>
            <p14:sldId id="314"/>
            <p14:sldId id="315"/>
            <p14:sldId id="316"/>
            <p14:sldId id="317"/>
            <p14:sldId id="318"/>
            <p14:sldId id="319"/>
            <p14:sldId id="320"/>
            <p14:sldId id="321"/>
            <p14:sldId id="322"/>
            <p14:sldId id="323"/>
            <p14:sldId id="324"/>
            <p14:sldId id="325"/>
            <p14:sldId id="349"/>
            <p14:sldId id="327"/>
            <p14:sldId id="328"/>
            <p14:sldId id="329"/>
            <p14:sldId id="330"/>
            <p14:sldId id="331"/>
            <p14:sldId id="332"/>
            <p14:sldId id="350"/>
            <p14:sldId id="333"/>
            <p14:sldId id="334"/>
            <p14:sldId id="378"/>
            <p14:sldId id="335"/>
            <p14:sldId id="18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a:srgbClr val="F14001"/>
    <a:srgbClr val="FFFFFF"/>
    <a:srgbClr val="1A1919"/>
    <a:srgbClr val="737373"/>
    <a:srgbClr val="BDBDBD"/>
    <a:srgbClr val="D2D2D2"/>
    <a:srgbClr val="E6E6E6"/>
    <a:srgbClr val="FFB900"/>
    <a:srgbClr val="3030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45" autoAdjust="0"/>
    <p:restoredTop sz="97271" autoAdjust="0"/>
  </p:normalViewPr>
  <p:slideViewPr>
    <p:cSldViewPr snapToGrid="0">
      <p:cViewPr varScale="1">
        <p:scale>
          <a:sx n="106" d="100"/>
          <a:sy n="106" d="100"/>
        </p:scale>
        <p:origin x="114" y="282"/>
      </p:cViewPr>
      <p:guideLst/>
    </p:cSldViewPr>
  </p:slideViewPr>
  <p:outlineViewPr>
    <p:cViewPr>
      <p:scale>
        <a:sx n="33" d="100"/>
        <a:sy n="33" d="100"/>
      </p:scale>
      <p:origin x="0" y="-6516"/>
    </p:cViewPr>
  </p:outlineViewPr>
  <p:notesTextViewPr>
    <p:cViewPr>
      <p:scale>
        <a:sx n="3" d="2"/>
        <a:sy n="3" d="2"/>
      </p:scale>
      <p:origin x="0" y="0"/>
    </p:cViewPr>
  </p:notesTextViewPr>
  <p:sorterViewPr>
    <p:cViewPr>
      <p:scale>
        <a:sx n="66" d="100"/>
        <a:sy n="66" d="100"/>
      </p:scale>
      <p:origin x="0" y="-1029"/>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handoutMaster" Target="handoutMasters/handoutMaster1.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notesMaster" Target="notesMasters/notesMaster1.xml"/><Relationship Id="rId86"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12/2018 9:3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12/2018 9:3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www.microsoft.com/cognitive-services/en-us/speech-api" TargetMode="External"/><Relationship Id="rId13" Type="http://schemas.openxmlformats.org/officeDocument/2006/relationships/hyperlink" Target="https://www.microsoft.com/cognitive-services/en-us/linguistic-analysis-api" TargetMode="External"/><Relationship Id="rId18" Type="http://schemas.openxmlformats.org/officeDocument/2006/relationships/hyperlink" Target="https://www.microsoft.com/cognitive-services/en-us/entity-linking-intelligence-service" TargetMode="External"/><Relationship Id="rId26" Type="http://schemas.openxmlformats.org/officeDocument/2006/relationships/hyperlink" Target="https://www.microsoft.com/cognitive-services/en-us/bing-web-search-api" TargetMode="External"/><Relationship Id="rId3" Type="http://schemas.openxmlformats.org/officeDocument/2006/relationships/hyperlink" Target="https://aka.ms/kioskscript" TargetMode="External"/><Relationship Id="rId21" Type="http://schemas.openxmlformats.org/officeDocument/2006/relationships/hyperlink" Target="https://www.microsoft.com/cognitive-services/en-us/recommendations-api" TargetMode="External"/><Relationship Id="rId7" Type="http://schemas.openxmlformats.org/officeDocument/2006/relationships/hyperlink" Target="https://www.microsoft.com/cognitive-services/en-us/face-api" TargetMode="External"/><Relationship Id="rId12" Type="http://schemas.openxmlformats.org/officeDocument/2006/relationships/hyperlink" Target="https://www.microsoft.com/cognitive-services/en-us/language-understanding-intelligent-service-luis" TargetMode="External"/><Relationship Id="rId17" Type="http://schemas.openxmlformats.org/officeDocument/2006/relationships/hyperlink" Target="https://www.microsoft.com/cognitive-services/en-us/academic-knowledge-api" TargetMode="External"/><Relationship Id="rId25" Type="http://schemas.openxmlformats.org/officeDocument/2006/relationships/hyperlink" Target="https://www.microsoft.com/cognitive-services/en-us/bing-video-search-api" TargetMode="External"/><Relationship Id="rId2" Type="http://schemas.openxmlformats.org/officeDocument/2006/relationships/slide" Target="../slides/slide16.xml"/><Relationship Id="rId16" Type="http://schemas.openxmlformats.org/officeDocument/2006/relationships/hyperlink" Target="https://www.microsoft.com/cognitive-services/en-us/web-language-model-api" TargetMode="External"/><Relationship Id="rId20" Type="http://schemas.openxmlformats.org/officeDocument/2006/relationships/hyperlink" Target="https://www.microsoft.com/cognitive-services/en-us/qnamaker" TargetMode="External"/><Relationship Id="rId1" Type="http://schemas.openxmlformats.org/officeDocument/2006/relationships/notesMaster" Target="../notesMasters/notesMaster1.xml"/><Relationship Id="rId6" Type="http://schemas.openxmlformats.org/officeDocument/2006/relationships/hyperlink" Target="https://www.microsoft.com/cognitive-services/en-us/emotion-api" TargetMode="External"/><Relationship Id="rId11" Type="http://schemas.openxmlformats.org/officeDocument/2006/relationships/hyperlink" Target="https://www.microsoft.com/cognitive-services/en-us/bing-spell-check-api" TargetMode="External"/><Relationship Id="rId24" Type="http://schemas.openxmlformats.org/officeDocument/2006/relationships/hyperlink" Target="https://www.microsoft.com/cognitive-services/en-us/bing-news-search-api" TargetMode="External"/><Relationship Id="rId5" Type="http://schemas.openxmlformats.org/officeDocument/2006/relationships/hyperlink" Target="https://www.microsoft.com/cognitive-services/en-us/content-moderator" TargetMode="External"/><Relationship Id="rId15" Type="http://schemas.openxmlformats.org/officeDocument/2006/relationships/hyperlink" Target="https://www.microsoft.com/cognitive-services/en-us/translator-api" TargetMode="External"/><Relationship Id="rId23" Type="http://schemas.openxmlformats.org/officeDocument/2006/relationships/hyperlink" Target="https://www.microsoft.com/cognitive-services/en-us/bing-image-search-api" TargetMode="External"/><Relationship Id="rId10" Type="http://schemas.openxmlformats.org/officeDocument/2006/relationships/hyperlink" Target="https://www.microsoft.com/cognitive-services/en-us/speaker-recognition-api" TargetMode="External"/><Relationship Id="rId19" Type="http://schemas.openxmlformats.org/officeDocument/2006/relationships/hyperlink" Target="https://www.microsoft.com/cognitive-services/en-us/knowledge-exploration-service" TargetMode="External"/><Relationship Id="rId4" Type="http://schemas.openxmlformats.org/officeDocument/2006/relationships/hyperlink" Target="https://www.microsoft.com/cognitive-services/en-us/computer-vision-api" TargetMode="External"/><Relationship Id="rId9" Type="http://schemas.openxmlformats.org/officeDocument/2006/relationships/hyperlink" Target="https://www.microsoft.com/cognitive-services/en-us/custom-recognition-intelligent-service-cris" TargetMode="External"/><Relationship Id="rId14" Type="http://schemas.openxmlformats.org/officeDocument/2006/relationships/hyperlink" Target="https://www.microsoft.com/cognitive-services/en-us/text-analytics-api" TargetMode="External"/><Relationship Id="rId22" Type="http://schemas.openxmlformats.org/officeDocument/2006/relationships/hyperlink" Target="https://www.microsoft.com/cognitive-services/en-us/bing-autosuggest-api"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microsoft.com/cognitive-services/en-us/vigiglobe-wiz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luis.ai/"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customers.microsoft.com/doclink/complex-networks-media-cognitive-services"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12/12/2018 9:3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47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ing Spell Check API: </a:t>
            </a:r>
            <a:r>
              <a:rPr lang="en-US" sz="1400" b="0" i="0" u="none" strike="noStrike" kern="120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400" b="0" i="0" u="none" strike="noStrike" kern="1200" baseline="0">
                <a:solidFill>
                  <a:schemeClr val="tx1"/>
                </a:solidFill>
                <a:effectLst/>
                <a:latin typeface="Segoe UI Light" pitchFamily="34" charset="0"/>
                <a:ea typeface="+mn-ea"/>
                <a:cs typeface="+mn-cs"/>
              </a:rPr>
              <a:t> Cognitive Services </a:t>
            </a:r>
            <a:r>
              <a:rPr lang="en-US" sz="1400" b="0" i="0" u="none" strike="noStrike" kern="120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400" b="0" i="0" u="none" strike="noStrike" kern="1200" err="1">
                <a:solidFill>
                  <a:schemeClr val="tx1"/>
                </a:solidFill>
                <a:effectLst/>
                <a:latin typeface="Segoe UI Light" pitchFamily="34" charset="0"/>
                <a:ea typeface="+mn-ea"/>
                <a:cs typeface="+mn-cs"/>
              </a:rPr>
              <a:t>donaldbr</a:t>
            </a:r>
            <a:r>
              <a:rPr lang="en-US" sz="1400" b="0" i="0" u="none" strike="noStrike" kern="1200">
                <a:solidFill>
                  <a:schemeClr val="tx1"/>
                </a:solidFill>
                <a:effectLst/>
                <a:latin typeface="Segoe UI Light" pitchFamily="34" charset="0"/>
                <a:ea typeface="+mn-ea"/>
                <a:cs typeface="+mn-cs"/>
              </a:rPr>
              <a:t> directly for more information. </a:t>
            </a:r>
          </a:p>
          <a:p>
            <a:endParaRPr lang="en-US" sz="1400" b="0" i="0" u="none" strike="noStrike" kern="1200">
              <a:solidFill>
                <a:schemeClr val="tx1"/>
              </a:solidFill>
              <a:effectLst/>
              <a:latin typeface="Segoe UI Light" pitchFamily="34" charset="0"/>
              <a:ea typeface="+mn-ea"/>
              <a:cs typeface="+mn-cs"/>
            </a:endParaRPr>
          </a:p>
          <a:p>
            <a:r>
              <a:rPr lang="en-US" sz="1400" b="0" i="0" u="none" strike="noStrike" kern="120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400" b="0" i="0" u="none" strike="noStrike" kern="1200" baseline="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400" b="0" i="0" u="none" strike="noStrike" kern="1200" baseline="0" err="1">
                <a:solidFill>
                  <a:schemeClr val="tx1"/>
                </a:solidFill>
                <a:effectLst/>
                <a:latin typeface="Segoe UI Light" pitchFamily="34" charset="0"/>
                <a:ea typeface="+mn-ea"/>
                <a:cs typeface="+mn-cs"/>
              </a:rPr>
              <a:t>febuary</a:t>
            </a:r>
            <a:r>
              <a:rPr lang="en-US" sz="1400" b="0" i="0" u="none" strike="noStrike" kern="1200" baseline="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400" b="0" i="0" u="none" strike="noStrike" kern="1200" baseline="0" err="1">
                <a:solidFill>
                  <a:schemeClr val="tx1"/>
                </a:solidFill>
                <a:effectLst/>
                <a:latin typeface="Segoe UI Light" pitchFamily="34" charset="0"/>
                <a:ea typeface="+mn-ea"/>
                <a:cs typeface="+mn-cs"/>
              </a:rPr>
              <a:t>stephen</a:t>
            </a:r>
            <a:r>
              <a:rPr lang="en-US" sz="1400" b="0" i="0" u="none" strike="noStrike" kern="1200" baseline="0">
                <a:solidFill>
                  <a:schemeClr val="tx1"/>
                </a:solidFill>
                <a:effectLst/>
                <a:latin typeface="Segoe UI Light" pitchFamily="34" charset="0"/>
                <a:ea typeface="+mn-ea"/>
                <a:cs typeface="+mn-cs"/>
              </a:rPr>
              <a:t> </a:t>
            </a:r>
            <a:r>
              <a:rPr lang="en-US" sz="1400" b="0" i="0" u="none" strike="noStrike" kern="1200" baseline="0" err="1">
                <a:solidFill>
                  <a:schemeClr val="tx1"/>
                </a:solidFill>
                <a:effectLst/>
                <a:latin typeface="Segoe UI Light" pitchFamily="34" charset="0"/>
                <a:ea typeface="+mn-ea"/>
                <a:cs typeface="+mn-cs"/>
              </a:rPr>
              <a:t>spielberg</a:t>
            </a:r>
            <a:r>
              <a:rPr lang="en-US" sz="1400" b="0" i="0" u="none" strike="noStrike" kern="1200" baseline="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400" b="0" i="0" u="none" strike="noStrike" kern="1200" baseline="0">
              <a:solidFill>
                <a:schemeClr val="tx1"/>
              </a:solidFill>
              <a:effectLst/>
              <a:latin typeface="Segoe UI Light" pitchFamily="34" charset="0"/>
              <a:ea typeface="+mn-ea"/>
              <a:cs typeface="+mn-cs"/>
            </a:endParaRPr>
          </a:p>
          <a:p>
            <a:r>
              <a:rPr lang="en-US" sz="1400" b="1" i="0" u="none" strike="noStrike" kern="1200" baseline="0">
                <a:solidFill>
                  <a:schemeClr val="tx1"/>
                </a:solidFill>
                <a:effectLst/>
                <a:latin typeface="Segoe UI Light" pitchFamily="34" charset="0"/>
                <a:ea typeface="+mn-ea"/>
                <a:cs typeface="+mn-cs"/>
              </a:rPr>
              <a:t>Web Language Model API: </a:t>
            </a:r>
            <a:r>
              <a:rPr lang="en-US" sz="1400" b="0" i="0" u="none" strike="noStrike" kern="1200">
                <a:solidFill>
                  <a:schemeClr val="tx1"/>
                </a:solidFill>
                <a:effectLst/>
                <a:latin typeface="Segoe UI Light" pitchFamily="34" charset="0"/>
                <a:ea typeface="+mn-ea"/>
                <a:cs typeface="+mn-cs"/>
              </a:rPr>
              <a:t>Web Language API indexes the web and Bing queries to allow users to calculate the probabilities of natural language expressions and estimate a list of most likely words to follow an existing sequence of words.</a:t>
            </a:r>
            <a:r>
              <a:rPr lang="en-US"/>
              <a:t> Use this API to insert spaces into a string of words without spaces, like a hashtag or URL.  Use this API to </a:t>
            </a:r>
            <a:r>
              <a:rPr lang="en-US" err="1"/>
              <a:t>rerank</a:t>
            </a:r>
            <a:r>
              <a:rPr lang="en-US"/>
              <a:t> machine translation/speech recognition candidate sentences based on probability of the sentence.  </a:t>
            </a:r>
          </a:p>
          <a:p>
            <a:endParaRPr lang="en-US"/>
          </a:p>
          <a:p>
            <a:r>
              <a:rPr lang="en-US"/>
              <a:t>Use this API for academic research. http://research.microsoft.com/apps/pubs/default.aspx?id=130762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a:t>
            </a:r>
            <a:r>
              <a:rPr lang="en-US" baseline="0" err="1"/>
              <a:t>WebLM</a:t>
            </a:r>
            <a:endParaRPr lang="en-US"/>
          </a:p>
          <a:p>
            <a:endParaRPr lang="en-US" sz="1400" b="0" i="0" u="none" strike="noStrike" kern="1200" baseline="0">
              <a:solidFill>
                <a:schemeClr val="tx1"/>
              </a:solidFill>
              <a:effectLst/>
              <a:latin typeface="Segoe UI Light" pitchFamily="34" charset="0"/>
              <a:ea typeface="+mn-ea"/>
              <a:cs typeface="+mn-cs"/>
            </a:endParaRPr>
          </a:p>
          <a:p>
            <a:endParaRPr lang="en-US" sz="1400" b="0" i="0" u="none" strike="noStrike" kern="1200" baseline="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baseline="0">
                <a:solidFill>
                  <a:schemeClr val="tx1"/>
                </a:solidFill>
                <a:effectLst/>
                <a:latin typeface="Segoe UI Light" pitchFamily="34" charset="0"/>
                <a:ea typeface="+mn-ea"/>
                <a:cs typeface="+mn-cs"/>
              </a:rPr>
              <a:t>Linguistic Analysis API</a:t>
            </a:r>
            <a:r>
              <a:rPr lang="en-US" sz="1400" b="0" i="0" u="none" strike="noStrike" kern="1200" baseline="0">
                <a:solidFill>
                  <a:schemeClr val="tx1"/>
                </a:solidFill>
                <a:effectLst/>
                <a:latin typeface="Segoe UI Light" pitchFamily="34" charset="0"/>
                <a:ea typeface="+mn-ea"/>
                <a:cs typeface="+mn-cs"/>
              </a:rPr>
              <a:t>: </a:t>
            </a:r>
            <a:r>
              <a:rPr lang="en-US"/>
              <a:t>The</a:t>
            </a:r>
            <a:r>
              <a:rPr lang="en-US" baseline="0"/>
              <a:t> L</a:t>
            </a:r>
            <a:r>
              <a:rPr lang="en-US"/>
              <a:t>inguistic Analysis</a:t>
            </a:r>
            <a:r>
              <a:rPr lang="en-US" baseline="0"/>
              <a:t> API helps you gain insights from text. Given a natural language parse, it’s easy to identify the concepts and entities (noun phrases), actions (verbs and verb phrases), descriptive words, and more. The processed text can provide useful features for classification tasks such as sentiment analysi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Linguistic Analysis.</a:t>
            </a: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a:solidFill>
                  <a:schemeClr val="tx1"/>
                </a:solidFill>
                <a:effectLst/>
                <a:latin typeface="Segoe UI Light" pitchFamily="34" charset="0"/>
                <a:ea typeface="+mn-ea"/>
                <a:cs typeface="+mn-cs"/>
              </a:rPr>
              <a:t>Language Understanding Intelligent Service (LUIS) </a:t>
            </a:r>
            <a:r>
              <a:rPr lang="en-US" sz="1400" b="0" i="0" u="none" strike="noStrike" kern="120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a:t>
            </a:r>
            <a:r>
              <a:rPr lang="en-US" sz="1400" b="0" i="0" u="none" strike="noStrike" kern="1200" err="1">
                <a:solidFill>
                  <a:schemeClr val="tx1"/>
                </a:solidFill>
                <a:effectLst/>
                <a:latin typeface="Segoe UI Light" pitchFamily="34" charset="0"/>
                <a:ea typeface="+mn-ea"/>
                <a:cs typeface="+mn-cs"/>
              </a:rPr>
              <a:t>webhooks</a:t>
            </a:r>
            <a:r>
              <a:rPr lang="en-US" sz="1400" b="0" i="0" u="none" strike="noStrike" kern="1200">
                <a:solidFill>
                  <a:schemeClr val="tx1"/>
                </a:solidFill>
                <a:effectLst/>
                <a:latin typeface="Segoe UI Light" pitchFamily="34" charset="0"/>
                <a:ea typeface="+mn-ea"/>
                <a:cs typeface="+mn-cs"/>
              </a:rPr>
              <a:t>. LUIS works pretty well it comes to intents. For the entities, the learning curve is slower especially when the number of entities increases. LUIS only supports 20 intents &amp; 10 entities yet by build each entities can have up to 10 children. </a:t>
            </a:r>
            <a:br>
              <a:rPr lang="en-US" sz="1400" b="0" i="0" u="none" strike="noStrike" kern="1200">
                <a:solidFill>
                  <a:schemeClr val="tx1"/>
                </a:solidFill>
                <a:effectLst/>
                <a:latin typeface="Segoe UI Light" pitchFamily="34" charset="0"/>
                <a:ea typeface="+mn-ea"/>
                <a:cs typeface="+mn-cs"/>
              </a:rPr>
            </a:b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a:latin typeface="Segoe UI Semilight" panose="020B0402040204020203" pitchFamily="34" charset="0"/>
                <a:cs typeface="Segoe UI Semilight" panose="020B0402040204020203" pitchFamily="34" charset="0"/>
              </a:rPr>
              <a:t>Translator API:</a:t>
            </a:r>
            <a:r>
              <a:rPr lang="en-US" sz="1400" b="0">
                <a:latin typeface="Segoe UI Semilight" panose="020B0402040204020203" pitchFamily="34" charset="0"/>
                <a:cs typeface="Segoe UI Semilight" panose="020B0402040204020203" pitchFamily="34" charset="0"/>
              </a:rPr>
              <a:t> Translate</a:t>
            </a:r>
            <a:r>
              <a:rPr lang="en-US" sz="1400" b="0" baseline="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400" b="1" kern="0"/>
              <a:t>Language Detection</a:t>
            </a:r>
            <a:br>
              <a:rPr lang="en-US" sz="1400" kern="0"/>
            </a:br>
            <a:r>
              <a:rPr lang="en-US" sz="1400" kern="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400" b="1" kern="0"/>
              <a:t>Translation </a:t>
            </a:r>
            <a:br>
              <a:rPr lang="en-US" sz="1400" kern="0"/>
            </a:br>
            <a:r>
              <a:rPr lang="en-US" sz="1400" kern="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400" b="1" kern="0"/>
              <a:t>Text to speech (TTS)</a:t>
            </a:r>
            <a:br>
              <a:rPr lang="en-US" sz="1400" kern="0"/>
            </a:br>
            <a:r>
              <a:rPr lang="en-US" sz="1400" kern="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400" b="1" kern="0"/>
              <a:t>Custom translation system</a:t>
            </a:r>
            <a:br>
              <a:rPr lang="en-US" sz="1400" kern="0"/>
            </a:br>
            <a:r>
              <a:rPr lang="en-US" sz="1400" kern="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400" b="1" kern="0"/>
              <a:t>Collaborative translation network</a:t>
            </a:r>
            <a:br>
              <a:rPr lang="en-US" sz="1400" kern="0"/>
            </a:br>
            <a:r>
              <a:rPr lang="en-US" sz="1400" kern="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1"/>
              <a:t>Text Analytics API: </a:t>
            </a:r>
            <a:r>
              <a:rPr lang="en-US"/>
              <a:t>At</a:t>
            </a:r>
            <a:r>
              <a:rPr lang="en-US" baseline="0"/>
              <a:t> the time of publication, this data was not available.  Please email Rebecca Duffy, reduffy@microsoft.com, if you would like more information.  </a:t>
            </a:r>
            <a:endParaRPr lang="en-US"/>
          </a:p>
          <a:p>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148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a:t>Academic Knowledge : </a:t>
            </a:r>
            <a:r>
              <a:rPr lang="en-US" sz="1400" b="0" i="0" u="none" strike="noStrike" kern="1200">
                <a:solidFill>
                  <a:schemeClr val="tx1"/>
                </a:solidFill>
                <a:effectLst/>
                <a:latin typeface="Segoe UI Light" pitchFamily="34" charset="0"/>
                <a:ea typeface="+mn-ea"/>
                <a:cs typeface="+mn-cs"/>
              </a:rPr>
              <a:t>The Academic Knowledge API enable developers to interpret user queries for academic intent and retrieve rich entity information about research papers, authors, journals, conferences, and universities from the Microsoft Academic Graph (MAG).</a:t>
            </a:r>
            <a:r>
              <a:rPr lang="en-US"/>
              <a:t> </a:t>
            </a:r>
            <a:r>
              <a:rPr lang="en-US" sz="1400" b="0" i="0" u="none" strike="noStrike" kern="1200">
                <a:solidFill>
                  <a:schemeClr val="tx1"/>
                </a:solidFill>
                <a:effectLst/>
                <a:latin typeface="Segoe UI Light" pitchFamily="34" charset="0"/>
                <a:ea typeface="+mn-ea"/>
                <a:cs typeface="+mn-cs"/>
              </a:rPr>
              <a:t>1. Developers can use this API to build search features such as the knowledge-based query auto-suggest and search results at  http://academic.microsoft.com.  </a:t>
            </a:r>
            <a:br>
              <a:rPr lang="en-US" sz="1400" b="0" i="0" u="none" strike="noStrike" kern="1200">
                <a:solidFill>
                  <a:schemeClr val="tx1"/>
                </a:solidFill>
                <a:effectLst/>
                <a:latin typeface="Segoe UI Light" pitchFamily="34" charset="0"/>
                <a:ea typeface="+mn-ea"/>
                <a:cs typeface="+mn-cs"/>
              </a:rPr>
            </a:br>
            <a:r>
              <a:rPr lang="en-US" sz="1400" b="0" i="0" u="none" strike="noStrike" kern="1200">
                <a:solidFill>
                  <a:schemeClr val="tx1"/>
                </a:solidFill>
                <a:effectLst/>
                <a:latin typeface="Segoe UI Light" pitchFamily="34" charset="0"/>
                <a:ea typeface="+mn-ea"/>
                <a:cs typeface="+mn-cs"/>
              </a:rPr>
              <a:t>2. Universities can retrieve analytics data about their researchers' publications, topics, and venues. 3. Conference organizers can analyze the citation patterns of their conference papers. 4. Data scientists and computer science researchers can develop new ranking and analysis approaches over a large heterogeneous network.</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a:t>A publication about our approach can be found here: http://research.microsoft.com/apps/pubs/default.aspx?id=246609  </a:t>
            </a:r>
            <a:r>
              <a:rPr lang="en-US" sz="1400" b="0" i="0" u="none" strike="noStrike" kern="1200">
                <a:solidFill>
                  <a:schemeClr val="tx1"/>
                </a:solidFill>
                <a:effectLst/>
                <a:latin typeface="Segoe UI Light" pitchFamily="34" charset="0"/>
                <a:ea typeface="+mn-ea"/>
                <a:cs typeface="+mn-cs"/>
              </a:rPr>
              <a:t>The underlying data graph (Microsoft Academic Graph) is constructed over discovered academic papers on the web. The data is largely unstructured, of variable quality, and ambiguous.  We are constantly working to improve this data quality and to correctly aggregate the multiple instances of authors, papers, etc. into a single representative entity in the graph.       </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Knowledge Exploration Service : </a:t>
            </a:r>
            <a:r>
              <a:rPr lang="en-US" sz="1400" b="0" i="0" u="none" strike="noStrike" kern="1200">
                <a:solidFill>
                  <a:schemeClr val="tx1"/>
                </a:solidFill>
                <a:effectLst/>
                <a:latin typeface="Segoe UI Light" pitchFamily="34" charset="0"/>
                <a:ea typeface="+mn-ea"/>
                <a:cs typeface="+mn-cs"/>
              </a:rPr>
              <a:t>Enable interactive search experience over structured data via natural language.  Indexes customer's structured data (BYOD) with support for prefix completion.  Generates annotated interpretations/completions of natural language queries.</a:t>
            </a:r>
            <a:r>
              <a:rPr lang="en-US"/>
              <a:t> Publishers/libraries can use this to create interactive search over their publications similar to academic.microsoft.com.  Merchants can create interactive search experience to help users find and discover products.  Data owners can create systems that answer natural language user questions. </a:t>
            </a:r>
            <a:r>
              <a:rPr lang="en-US" sz="1400" b="0" i="0" u="none" strike="noStrike" kern="1200">
                <a:solidFill>
                  <a:schemeClr val="tx1"/>
                </a:solidFill>
                <a:effectLst/>
                <a:latin typeface="Segoe UI Light" pitchFamily="34" charset="0"/>
                <a:ea typeface="+mn-ea"/>
                <a:cs typeface="+mn-cs"/>
              </a:rPr>
              <a:t>It works best when the structured data is clean and the natural language structure is simple and predictable.  Otherwise, customers will have to invest a bit of work to generate the structured data and author the grammar.  We are working on future components to simplify both authoring aspects.</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Entity</a:t>
            </a:r>
            <a:r>
              <a:rPr lang="en-US" b="1" baseline="0"/>
              <a:t> Linking : </a:t>
            </a:r>
            <a:r>
              <a:rPr lang="en-US" sz="1400" b="0" i="0" u="none" strike="noStrike" kern="1200">
                <a:solidFill>
                  <a:schemeClr val="tx1"/>
                </a:solidFill>
                <a:effectLst/>
                <a:latin typeface="Segoe UI Light" pitchFamily="34" charset="0"/>
                <a:ea typeface="+mn-ea"/>
                <a:cs typeface="+mn-cs"/>
              </a:rPr>
              <a:t> Given a specific paragraph of text within a document, the Entity Linking will recognize and identify each separate entity based on the context and linking the entity to </a:t>
            </a:r>
            <a:r>
              <a:rPr lang="en-US" sz="1400" b="0" i="0" u="none" strike="noStrike" kern="1200" err="1">
                <a:solidFill>
                  <a:schemeClr val="tx1"/>
                </a:solidFill>
                <a:effectLst/>
                <a:latin typeface="Segoe UI Light" pitchFamily="34" charset="0"/>
                <a:ea typeface="+mn-ea"/>
                <a:cs typeface="+mn-cs"/>
              </a:rPr>
              <a:t>wikipedia</a:t>
            </a:r>
            <a:r>
              <a:rPr lang="en-US" sz="1400" b="0" i="0" u="none" strike="noStrike" kern="1200">
                <a:solidFill>
                  <a:schemeClr val="tx1"/>
                </a:solidFill>
                <a:effectLst/>
                <a:latin typeface="Segoe UI Light" pitchFamily="34" charset="0"/>
                <a:ea typeface="+mn-ea"/>
                <a:cs typeface="+mn-cs"/>
              </a:rPr>
              <a:t>.</a:t>
            </a:r>
            <a:r>
              <a:rPr lang="en-US"/>
              <a:t> Use cases: </a:t>
            </a:r>
            <a:r>
              <a:rPr lang="en-US" sz="1400" b="0" i="0" u="none" strike="noStrike" kern="1200">
                <a:solidFill>
                  <a:schemeClr val="tx1"/>
                </a:solidFill>
                <a:effectLst/>
                <a:latin typeface="Segoe UI Light" pitchFamily="34" charset="0"/>
                <a:ea typeface="+mn-ea"/>
                <a:cs typeface="+mn-cs"/>
              </a:rPr>
              <a:t>A news agency would use this to analysis their news article to create relations between articles, a news agency would use this to generate tags for article and make recommendation for reader, a company would use this to track the PR articles mentioned it and product comments to track customer feedback. </a:t>
            </a:r>
            <a:r>
              <a:rPr lang="en-US" baseline="0"/>
              <a:t>We also have SDKs available for Entity Linking.</a:t>
            </a:r>
            <a:endParaRPr lang="en-US"/>
          </a:p>
          <a:p>
            <a:pPr marL="0" lvl="0" indent="0">
              <a:buFont typeface="Arial" panose="020B0604020202020204" pitchFamily="34" charset="0"/>
              <a:buNone/>
            </a:pP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400" b="1" i="0" u="none" strike="noStrike" kern="1200">
                <a:solidFill>
                  <a:schemeClr val="tx1"/>
                </a:solidFill>
                <a:effectLst/>
                <a:latin typeface="Segoe UI Light" pitchFamily="34" charset="0"/>
                <a:ea typeface="+mn-ea"/>
                <a:cs typeface="+mn-cs"/>
              </a:rPr>
              <a:t>Recommendations</a:t>
            </a:r>
            <a:r>
              <a:rPr lang="en-US" sz="1400" b="1" i="0" u="none" strike="noStrike" kern="1200" baseline="0">
                <a:solidFill>
                  <a:schemeClr val="tx1"/>
                </a:solidFill>
                <a:effectLst/>
                <a:latin typeface="Segoe UI Light" pitchFamily="34" charset="0"/>
                <a:ea typeface="+mn-ea"/>
                <a:cs typeface="+mn-cs"/>
              </a:rPr>
              <a:t> API: </a:t>
            </a:r>
            <a:r>
              <a:rPr lang="en-US"/>
              <a:t>Learn from previous transactions to predict which items are more likely to be of interest to or purchased by your customers. Built using Azure Machine Learning, the Recommendations engine uses customer data—either past customer activity you’ve uploaded or data collected directly from your digital store—to offer recommended items for your customers and increase conversion rates.</a:t>
            </a: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a:t>Custom Decision Service: </a:t>
            </a:r>
            <a:r>
              <a:rPr lang="en-US"/>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err="1"/>
              <a:t>QnA</a:t>
            </a:r>
            <a:r>
              <a:rPr lang="en-US" b="1"/>
              <a:t> Maker : Distill information into conversational, easy-to-navigate answers.</a:t>
            </a:r>
          </a:p>
          <a:p>
            <a:r>
              <a:rPr lang="en-US" b="1"/>
              <a:t>Extract questions and answers</a:t>
            </a:r>
          </a:p>
          <a:p>
            <a:r>
              <a:rPr lang="en-US" err="1"/>
              <a:t>QnA</a:t>
            </a:r>
            <a:r>
              <a:rPr lang="en-US"/>
              <a:t> Maker extracts all possible pairs of questions and answers from user provided content – FAQ URLs, documents and editorial content.</a:t>
            </a:r>
          </a:p>
          <a:p>
            <a:r>
              <a:rPr lang="en-US" b="1"/>
              <a:t>Test, train and publish</a:t>
            </a:r>
          </a:p>
          <a:p>
            <a:r>
              <a:rPr lang="en-US"/>
              <a:t>Through </a:t>
            </a:r>
            <a:r>
              <a:rPr lang="en-US" err="1"/>
              <a:t>QnA</a:t>
            </a:r>
            <a:r>
              <a:rPr lang="en-US"/>
              <a:t> Maker’s easy-to-use GUI, you can edit, remove or add pair before testing and training the knowledge base and publishing your knowledge base as an API endpoint.</a:t>
            </a:r>
          </a:p>
          <a:p>
            <a:r>
              <a:rPr lang="en-US" b="1"/>
              <a:t>Integrates with other APIs and solutions</a:t>
            </a:r>
          </a:p>
          <a:p>
            <a:r>
              <a:rPr lang="en-US" err="1"/>
              <a:t>QnA</a:t>
            </a:r>
            <a:r>
              <a:rPr lang="en-US"/>
              <a:t> Maker integrates with other APIs seamlessly and at scale. Use </a:t>
            </a:r>
            <a:r>
              <a:rPr lang="en-US" err="1"/>
              <a:t>QnA</a:t>
            </a:r>
            <a:r>
              <a:rPr lang="en-US"/>
              <a:t> Maker with Cognitive Services such as Language Understanding Intelligent Service and create something as elegantly simple as a chat bot that answers FAQs, or as complex as an interactive virtual guid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lvl="0" indent="0">
              <a:buFont typeface="Arial" panose="020B0604020202020204" pitchFamily="34" charset="0"/>
              <a:buNone/>
            </a:pPr>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328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0" baseline="0" dirty="0"/>
              <a:t>Bing Entity Search API </a:t>
            </a:r>
            <a:r>
              <a:rPr lang="en-US" sz="900" b="1"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839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kern="1200">
                <a:solidFill>
                  <a:schemeClr val="tx1"/>
                </a:solidFill>
                <a:effectLst/>
                <a:latin typeface="+mn-lt"/>
                <a:ea typeface="+mn-ea"/>
                <a:cs typeface="+mn-cs"/>
              </a:rPr>
              <a:t>Project Prague</a:t>
            </a:r>
            <a:r>
              <a:rPr lang="en-US" sz="1200" kern="1200">
                <a:solidFill>
                  <a:schemeClr val="tx1"/>
                </a:solidFill>
                <a:effectLst/>
                <a:latin typeface="+mn-lt"/>
                <a:ea typeface="+mn-ea"/>
                <a:cs typeface="+mn-cs"/>
              </a:rPr>
              <a:t>.  SDK to incorporate gesture-based controls into your apps. Quickly define and implement customized hand gestures, creating a more natural user experience.  Limited private preview availability at launch.</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Cuzco</a:t>
            </a:r>
            <a:r>
              <a:rPr lang="en-US" sz="1200" kern="1200">
                <a:solidFill>
                  <a:schemeClr val="tx1"/>
                </a:solidFill>
                <a:effectLst/>
                <a:latin typeface="+mn-lt"/>
                <a:ea typeface="+mn-ea"/>
                <a:cs typeface="+mn-cs"/>
              </a:rPr>
              <a:t>.  API to help developers find events associated with Wikipedia entities. Begin with a Wikipedia entity, and receive a list of related events organized by time.</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Johannesburg</a:t>
            </a:r>
            <a:r>
              <a:rPr lang="en-US" sz="1200" kern="1200">
                <a:solidFill>
                  <a:schemeClr val="tx1"/>
                </a:solidFill>
                <a:effectLst/>
                <a:latin typeface="+mn-lt"/>
                <a:ea typeface="+mn-ea"/>
                <a:cs typeface="+mn-cs"/>
              </a:rPr>
              <a:t>.  API to calculate route logistics for with deeper location intelligence to account for specific enterprise requirements. IE: weight, height length, hazardous materials, etc.</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Nanjing</a:t>
            </a:r>
            <a:r>
              <a:rPr lang="en-US" sz="1200" kern="1200">
                <a:solidFill>
                  <a:schemeClr val="tx1"/>
                </a:solidFill>
                <a:effectLst/>
                <a:latin typeface="+mn-lt"/>
                <a:ea typeface="+mn-ea"/>
                <a:cs typeface="+mn-cs"/>
              </a:rPr>
              <a:t>.  API to calculate isochrones - time and distance-based recommendations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Abu Dhabi</a:t>
            </a:r>
            <a:r>
              <a:rPr lang="en-US" sz="1200" kern="1200">
                <a:solidFill>
                  <a:schemeClr val="tx1"/>
                </a:solidFill>
                <a:effectLst/>
                <a:latin typeface="+mn-lt"/>
                <a:ea typeface="+mn-ea"/>
                <a:cs typeface="+mn-cs"/>
              </a:rPr>
              <a:t>.  API to create distance matrices, enabling you to calculate a histogram of travel times, and serve as stepping stone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Wollongong</a:t>
            </a:r>
            <a:r>
              <a:rPr lang="en-US" sz="1200" kern="1200">
                <a:solidFill>
                  <a:schemeClr val="tx1"/>
                </a:solidFill>
                <a:effectLst/>
                <a:latin typeface="+mn-lt"/>
                <a:ea typeface="+mn-ea"/>
                <a:cs typeface="+mn-cs"/>
              </a:rPr>
              <a:t>.  API to help ‘score’ the attractiveness of a location, based on how many of a particular amenity are within a specific distance.  Ex: restaurants, parks, transit stops.</a:t>
            </a:r>
            <a:endParaRPr lang="en-US" sz="1600" kern="1200">
              <a:solidFill>
                <a:schemeClr val="tx1"/>
              </a:solidFill>
              <a:effectLst/>
              <a:latin typeface="+mn-lt"/>
              <a:ea typeface="+mn-ea"/>
              <a:cs typeface="+mn-cs"/>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698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ternal version Kiosk Script : </a:t>
            </a:r>
            <a:r>
              <a:rPr lang="en-US" sz="1200" kern="1200" dirty="0">
                <a:solidFill>
                  <a:schemeClr val="tx1"/>
                </a:solidFill>
                <a:effectLst/>
                <a:latin typeface="+mn-lt"/>
                <a:ea typeface="+mn-ea"/>
                <a:cs typeface="+mn-cs"/>
                <a:hlinkClick r:id="rId3"/>
              </a:rPr>
              <a:t>https://aka.ms/kioskscript</a:t>
            </a:r>
            <a:r>
              <a:rPr lang="en-US" sz="1200" kern="1200" dirty="0">
                <a:solidFill>
                  <a:schemeClr val="tx1"/>
                </a:solidFill>
                <a:effectLst/>
                <a:latin typeface="+mn-lt"/>
                <a:ea typeface="+mn-ea"/>
                <a:cs typeface="+mn-cs"/>
              </a:rPr>
              <a:t> </a:t>
            </a:r>
          </a:p>
          <a:p>
            <a:endParaRPr lang="en-US" dirty="0"/>
          </a:p>
          <a:p>
            <a:r>
              <a:rPr lang="en-US" dirty="0"/>
              <a:t>You can also find the following interactive demonstrations in the Cognitive Services Site : </a:t>
            </a:r>
          </a:p>
          <a:p>
            <a:r>
              <a:rPr lang="en-US" b="1" dirty="0">
                <a:effectLst/>
              </a:rPr>
              <a:t>Vision </a:t>
            </a:r>
          </a:p>
          <a:p>
            <a:pPr lvl="1"/>
            <a:r>
              <a:rPr lang="en-US" dirty="0">
                <a:effectLst/>
                <a:hlinkClick r:id="rId4"/>
              </a:rPr>
              <a:t>Computer Vision </a:t>
            </a:r>
            <a:endParaRPr lang="en-US" dirty="0">
              <a:effectLst/>
            </a:endParaRPr>
          </a:p>
          <a:p>
            <a:pPr lvl="1"/>
            <a:r>
              <a:rPr lang="en-US" dirty="0">
                <a:effectLst/>
                <a:hlinkClick r:id="rId5"/>
              </a:rPr>
              <a:t>Content Moderator </a:t>
            </a:r>
            <a:endParaRPr lang="en-US" dirty="0">
              <a:effectLst/>
            </a:endParaRPr>
          </a:p>
          <a:p>
            <a:pPr lvl="1"/>
            <a:r>
              <a:rPr lang="en-US" dirty="0">
                <a:effectLst/>
                <a:hlinkClick r:id="rId6"/>
              </a:rPr>
              <a:t>Emotion </a:t>
            </a:r>
            <a:endParaRPr lang="en-US" dirty="0">
              <a:effectLst/>
            </a:endParaRPr>
          </a:p>
          <a:p>
            <a:pPr lvl="1"/>
            <a:r>
              <a:rPr lang="en-US" dirty="0">
                <a:effectLst/>
                <a:hlinkClick r:id="rId7"/>
              </a:rPr>
              <a:t>Face </a:t>
            </a:r>
            <a:endParaRPr lang="en-US" dirty="0">
              <a:effectLst/>
            </a:endParaRPr>
          </a:p>
          <a:p>
            <a:r>
              <a:rPr lang="en-US" b="1" dirty="0">
                <a:effectLst/>
              </a:rPr>
              <a:t>Speech </a:t>
            </a:r>
            <a:endParaRPr lang="en-US" dirty="0">
              <a:effectLst/>
            </a:endParaRPr>
          </a:p>
          <a:p>
            <a:pPr lvl="1"/>
            <a:r>
              <a:rPr lang="en-US" dirty="0">
                <a:effectLst/>
                <a:hlinkClick r:id="rId8"/>
              </a:rPr>
              <a:t>Bing Speech </a:t>
            </a:r>
            <a:endParaRPr lang="en-US" dirty="0">
              <a:effectLst/>
            </a:endParaRPr>
          </a:p>
          <a:p>
            <a:pPr lvl="1"/>
            <a:r>
              <a:rPr lang="en-US" dirty="0">
                <a:effectLst/>
                <a:hlinkClick r:id="rId9"/>
              </a:rPr>
              <a:t>Custom Recognition </a:t>
            </a:r>
            <a:endParaRPr lang="en-US" dirty="0">
              <a:effectLst/>
            </a:endParaRPr>
          </a:p>
          <a:p>
            <a:pPr lvl="1"/>
            <a:r>
              <a:rPr lang="en-US" dirty="0">
                <a:effectLst/>
                <a:hlinkClick r:id="rId10"/>
              </a:rPr>
              <a:t>Speaker Recognition </a:t>
            </a:r>
            <a:endParaRPr lang="en-US" dirty="0">
              <a:effectLst/>
            </a:endParaRPr>
          </a:p>
          <a:p>
            <a:r>
              <a:rPr lang="en-US" b="1" dirty="0">
                <a:effectLst/>
              </a:rPr>
              <a:t>Language </a:t>
            </a:r>
          </a:p>
          <a:p>
            <a:pPr lvl="1"/>
            <a:r>
              <a:rPr lang="en-US" dirty="0">
                <a:effectLst/>
                <a:hlinkClick r:id="rId11"/>
              </a:rPr>
              <a:t>Bing Spell Check </a:t>
            </a:r>
            <a:endParaRPr lang="en-US" dirty="0">
              <a:effectLst/>
            </a:endParaRPr>
          </a:p>
          <a:p>
            <a:pPr lvl="1"/>
            <a:r>
              <a:rPr lang="en-US" dirty="0">
                <a:effectLst/>
                <a:hlinkClick r:id="rId12"/>
              </a:rPr>
              <a:t>Language Understanding </a:t>
            </a:r>
            <a:endParaRPr lang="en-US" dirty="0">
              <a:effectLst/>
            </a:endParaRPr>
          </a:p>
          <a:p>
            <a:pPr lvl="1"/>
            <a:r>
              <a:rPr lang="en-US" dirty="0">
                <a:effectLst/>
                <a:hlinkClick r:id="rId13"/>
              </a:rPr>
              <a:t>Linguistic Analysis </a:t>
            </a:r>
            <a:endParaRPr lang="en-US" dirty="0">
              <a:effectLst/>
            </a:endParaRPr>
          </a:p>
          <a:p>
            <a:pPr lvl="1"/>
            <a:r>
              <a:rPr lang="en-US" dirty="0">
                <a:effectLst/>
                <a:hlinkClick r:id="rId14"/>
              </a:rPr>
              <a:t>Text Analytics </a:t>
            </a:r>
            <a:endParaRPr lang="en-US" dirty="0">
              <a:effectLst/>
            </a:endParaRPr>
          </a:p>
          <a:p>
            <a:pPr lvl="1"/>
            <a:r>
              <a:rPr lang="en-US" dirty="0">
                <a:effectLst/>
                <a:hlinkClick r:id="rId15"/>
              </a:rPr>
              <a:t>Translator </a:t>
            </a:r>
            <a:endParaRPr lang="en-US" dirty="0">
              <a:effectLst/>
            </a:endParaRPr>
          </a:p>
          <a:p>
            <a:pPr lvl="1"/>
            <a:r>
              <a:rPr lang="en-US" dirty="0" err="1">
                <a:effectLst/>
                <a:hlinkClick r:id="rId16"/>
              </a:rPr>
              <a:t>WebLM</a:t>
            </a:r>
            <a:r>
              <a:rPr lang="en-US" dirty="0">
                <a:effectLst/>
                <a:hlinkClick r:id="rId16"/>
              </a:rPr>
              <a:t> </a:t>
            </a:r>
            <a:endParaRPr lang="en-US" dirty="0">
              <a:effectLst/>
            </a:endParaRPr>
          </a:p>
          <a:p>
            <a:r>
              <a:rPr lang="en-US" b="1" dirty="0">
                <a:effectLst/>
              </a:rPr>
              <a:t>Knowledge </a:t>
            </a:r>
          </a:p>
          <a:p>
            <a:pPr lvl="1"/>
            <a:r>
              <a:rPr lang="en-US" dirty="0">
                <a:effectLst/>
                <a:hlinkClick r:id="rId17"/>
              </a:rPr>
              <a:t>Academic </a:t>
            </a:r>
            <a:endParaRPr lang="en-US" dirty="0">
              <a:effectLst/>
            </a:endParaRPr>
          </a:p>
          <a:p>
            <a:pPr lvl="1"/>
            <a:r>
              <a:rPr lang="en-US" dirty="0">
                <a:effectLst/>
                <a:hlinkClick r:id="rId18"/>
              </a:rPr>
              <a:t>Entity Linking </a:t>
            </a:r>
            <a:endParaRPr lang="en-US" dirty="0">
              <a:effectLst/>
            </a:endParaRPr>
          </a:p>
          <a:p>
            <a:pPr lvl="1"/>
            <a:r>
              <a:rPr lang="en-US" dirty="0">
                <a:effectLst/>
                <a:hlinkClick r:id="rId19"/>
              </a:rPr>
              <a:t>Knowledge Exploration </a:t>
            </a:r>
            <a:endParaRPr lang="en-US" dirty="0">
              <a:effectLst/>
            </a:endParaRPr>
          </a:p>
          <a:p>
            <a:pPr lvl="1"/>
            <a:r>
              <a:rPr lang="en-US" dirty="0" err="1">
                <a:effectLst/>
                <a:hlinkClick r:id="rId20"/>
              </a:rPr>
              <a:t>QnA</a:t>
            </a:r>
            <a:r>
              <a:rPr lang="en-US" dirty="0">
                <a:effectLst/>
                <a:hlinkClick r:id="rId20"/>
              </a:rPr>
              <a:t> Maker </a:t>
            </a:r>
            <a:endParaRPr lang="en-US" dirty="0">
              <a:effectLst/>
            </a:endParaRPr>
          </a:p>
          <a:p>
            <a:pPr lvl="1"/>
            <a:r>
              <a:rPr lang="en-US" dirty="0">
                <a:effectLst/>
                <a:hlinkClick r:id="rId21"/>
              </a:rPr>
              <a:t>Recommendations </a:t>
            </a:r>
            <a:endParaRPr lang="en-US" dirty="0">
              <a:effectLst/>
            </a:endParaRPr>
          </a:p>
          <a:p>
            <a:r>
              <a:rPr lang="en-US" b="1" dirty="0">
                <a:effectLst/>
              </a:rPr>
              <a:t>Search </a:t>
            </a:r>
          </a:p>
          <a:p>
            <a:pPr lvl="1"/>
            <a:r>
              <a:rPr lang="en-US" dirty="0">
                <a:effectLst/>
                <a:hlinkClick r:id="rId22"/>
              </a:rPr>
              <a:t>Bing Autosuggest </a:t>
            </a:r>
            <a:endParaRPr lang="en-US" dirty="0">
              <a:effectLst/>
            </a:endParaRPr>
          </a:p>
          <a:p>
            <a:pPr lvl="1"/>
            <a:r>
              <a:rPr lang="en-US" dirty="0">
                <a:effectLst/>
                <a:hlinkClick r:id="rId23"/>
              </a:rPr>
              <a:t>Bing Image Search </a:t>
            </a:r>
            <a:endParaRPr lang="en-US" dirty="0">
              <a:effectLst/>
            </a:endParaRPr>
          </a:p>
          <a:p>
            <a:pPr lvl="1"/>
            <a:r>
              <a:rPr lang="en-US" dirty="0">
                <a:effectLst/>
                <a:hlinkClick r:id="rId24"/>
              </a:rPr>
              <a:t>Bing News Search </a:t>
            </a:r>
            <a:endParaRPr lang="en-US" dirty="0">
              <a:effectLst/>
            </a:endParaRPr>
          </a:p>
          <a:p>
            <a:pPr lvl="1"/>
            <a:r>
              <a:rPr lang="en-US" dirty="0">
                <a:effectLst/>
                <a:hlinkClick r:id="rId25"/>
              </a:rPr>
              <a:t>Bing Video Search </a:t>
            </a:r>
            <a:endParaRPr lang="en-US" dirty="0">
              <a:effectLst/>
            </a:endParaRPr>
          </a:p>
          <a:p>
            <a:pPr lvl="1"/>
            <a:r>
              <a:rPr lang="en-US" dirty="0">
                <a:effectLst/>
                <a:hlinkClick r:id="rId26"/>
              </a:rPr>
              <a:t>Bing Web Search </a:t>
            </a:r>
            <a:endParaRPr lang="en-US" dirty="0">
              <a:effectLst/>
            </a:endParaRPr>
          </a:p>
          <a:p>
            <a:pPr lvl="1"/>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642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73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Do you need an API that gives you actionable information about images used in your app? The Computer Vision API gives you the tools to understand the contents of any image. Create tags identifying objects, beings, or actions present in the image, and then craft coherent sentences to describe it. Whether you want to execute better image search, or you want to create an assistive app for the visually impaired, the Computer Vision API helps get the job done. </a:t>
            </a:r>
          </a:p>
        </p:txBody>
      </p:sp>
    </p:spTree>
    <p:extLst>
      <p:ext uri="{BB962C8B-B14F-4D97-AF65-F5344CB8AC3E}">
        <p14:creationId xmlns:p14="http://schemas.microsoft.com/office/powerpoint/2010/main" val="2814544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820762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132259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33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65761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477935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48688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err="1">
                <a:solidFill>
                  <a:schemeClr val="tx1"/>
                </a:solidFill>
                <a:effectLst/>
                <a:latin typeface="Segoe UI Light" pitchFamily="34" charset="0"/>
                <a:ea typeface="+mn-ea"/>
                <a:cs typeface="+mn-cs"/>
                <a:hlinkClick r:id="rId3"/>
              </a:rPr>
              <a:t>Vigiglobe</a:t>
            </a:r>
            <a:endParaRPr lang="en-US" sz="1200" kern="1200">
              <a:solidFill>
                <a:schemeClr val="tx1"/>
              </a:solidFill>
              <a:effectLst/>
              <a:latin typeface="Segoe UI Light" pitchFamily="34" charset="0"/>
              <a:ea typeface="+mn-ea"/>
              <a:cs typeface="+mn-cs"/>
            </a:endParaRPr>
          </a:p>
          <a:p>
            <a:r>
              <a:rPr lang="en-US" sz="1200" kern="1200" err="1">
                <a:solidFill>
                  <a:schemeClr val="tx1"/>
                </a:solidFill>
                <a:effectLst/>
                <a:latin typeface="Segoe UI Light" pitchFamily="34" charset="0"/>
                <a:ea typeface="+mn-ea"/>
                <a:cs typeface="+mn-cs"/>
              </a:rPr>
              <a:t>Vigiglobe</a:t>
            </a:r>
            <a:r>
              <a:rPr lang="en-US" sz="1200" kern="1200">
                <a:solidFill>
                  <a:schemeClr val="tx1"/>
                </a:solidFill>
                <a:effectLst/>
                <a:latin typeface="Segoe UI Light" pitchFamily="34" charset="0"/>
                <a:ea typeface="+mn-ea"/>
                <a:cs typeface="+mn-cs"/>
              </a:rPr>
              <a:t> saw an opportunity to analyze not only what was being said on social media, but also the context in which it was being discussed. The team created proprietary algorithms to accurately interpret and contextualize social media messages in real time. Using the Computer Vision API of Microsoft </a:t>
            </a:r>
            <a:endParaRPr lang="en-US"/>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575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00" dirty="0">
                <a:solidFill>
                  <a:schemeClr val="bg1"/>
                </a:solidFill>
              </a:rPr>
              <a:t>Here’s a preview of the Seeing AI app, which started as a research project that helps people who are visually impaired or blind to understand who and what is around them. </a:t>
            </a:r>
          </a:p>
          <a:p>
            <a:endParaRPr lang="en-US" dirty="0"/>
          </a:p>
          <a:p>
            <a:pPr>
              <a:spcAft>
                <a:spcPts val="1800"/>
              </a:spcAft>
            </a:pPr>
            <a:r>
              <a:rPr lang="en-US" sz="1200" dirty="0">
                <a:solidFill>
                  <a:schemeClr val="bg1"/>
                </a:solidFill>
              </a:rPr>
              <a:t>The app will use computer vision, image &amp; speech recognition, natural language processing and machine learning from Microsoft Cognitive Services.</a:t>
            </a:r>
            <a:r>
              <a:rPr lang="en-US" sz="1200" baseline="0" dirty="0">
                <a:solidFill>
                  <a:schemeClr val="bg1"/>
                </a:solidFill>
              </a:rPr>
              <a:t> </a:t>
            </a:r>
            <a:r>
              <a:rPr lang="en-US" sz="1200" dirty="0">
                <a:solidFill>
                  <a:schemeClr val="bg1"/>
                </a:solidFill>
              </a:rPr>
              <a:t>The app is under development and is not available today but it shows what’s possible with the APIs. </a:t>
            </a:r>
          </a:p>
          <a:p>
            <a:endParaRPr lang="en-US" dirty="0"/>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9822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How are you feeling? Can your app tell? With the Emotion API, you can build an app that recognizes emotions according to facial expressions—giving you the capability to provide an amazing, personalized experience. </a:t>
            </a:r>
          </a:p>
          <a:p>
            <a:r>
              <a:rPr lang="en-US" sz="1200" kern="1200">
                <a:solidFill>
                  <a:schemeClr val="tx1"/>
                </a:solidFill>
                <a:effectLst/>
                <a:latin typeface="+mn-lt"/>
                <a:ea typeface="+mn-ea"/>
                <a:cs typeface="+mn-cs"/>
              </a:rPr>
              <a:t>Using facial expressions, this cloud-based API can detect happiness, neutrality, sadness, contempt, anger, disgust, fear, and surprise. The AI understands these emotions based on universal facial expressions, and it functions cross-culturally, so your app will work around the world.  </a:t>
            </a:r>
          </a:p>
        </p:txBody>
      </p:sp>
    </p:spTree>
    <p:extLst>
      <p:ext uri="{BB962C8B-B14F-4D97-AF65-F5344CB8AC3E}">
        <p14:creationId xmlns:p14="http://schemas.microsoft.com/office/powerpoint/2010/main" val="19289491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752017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Detect human faces and compare similar ones, organize people into groups according to visual similarity, and identify previously tagged people in images. </a:t>
            </a:r>
            <a:endParaRPr lang="zh-CN" altLang="en-US" dirty="0"/>
          </a:p>
        </p:txBody>
      </p:sp>
    </p:spTree>
    <p:extLst>
      <p:ext uri="{BB962C8B-B14F-4D97-AF65-F5344CB8AC3E}">
        <p14:creationId xmlns:p14="http://schemas.microsoft.com/office/powerpoint/2010/main" val="4284921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6728080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Image moderation</a:t>
            </a:r>
          </a:p>
          <a:p>
            <a:r>
              <a:rPr lang="en-US" dirty="0"/>
              <a:t>Enhance your ability to detect potentially offensive or unwanted images through machine-learning based classifiers, custom blacklists, and optical character recognition (OCR).</a:t>
            </a:r>
          </a:p>
          <a:p>
            <a:r>
              <a:rPr lang="en-US" b="1" dirty="0"/>
              <a:t>Text moderation</a:t>
            </a:r>
          </a:p>
          <a:p>
            <a:r>
              <a:rPr lang="en-US" dirty="0"/>
              <a:t>Helps you detect potential profanity in more than 100 languages and match text against your custom lists automatically. Content Moderator also checks for possible personally identifiable information (PII).</a:t>
            </a:r>
          </a:p>
          <a:p>
            <a:r>
              <a:rPr lang="en-US" b="1" dirty="0"/>
              <a:t>Video moderation</a:t>
            </a:r>
          </a:p>
          <a:p>
            <a:r>
              <a:rPr lang="en-US" dirty="0"/>
              <a:t>Enable the scoring of possible adult content in videos. Video moderation is currently deployed in preview on Azure Media Services.</a:t>
            </a:r>
          </a:p>
          <a:p>
            <a:r>
              <a:rPr lang="en-US" b="1" dirty="0"/>
              <a:t>Human review tool</a:t>
            </a:r>
          </a:p>
          <a:p>
            <a:r>
              <a:rPr lang="en-US" dirty="0"/>
              <a:t>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p>
        </p:txBody>
      </p:sp>
    </p:spTree>
    <p:extLst>
      <p:ext uri="{BB962C8B-B14F-4D97-AF65-F5344CB8AC3E}">
        <p14:creationId xmlns:p14="http://schemas.microsoft.com/office/powerpoint/2010/main" val="980755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12/12/2018 9:3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37154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1180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030926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27372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Convert audio to text, understand intent, and convert text back to speech for natural responsiveness. </a:t>
            </a:r>
          </a:p>
          <a:p>
            <a:endParaRPr lang="en-US" altLang="zh-CN">
              <a:effectLst/>
            </a:endParaRPr>
          </a:p>
          <a:p>
            <a:r>
              <a:rPr lang="en-US">
                <a:effectLst/>
              </a:rPr>
              <a:t>Speech Intent Recognition can, in addition to returning recognized text from audio inputs, also return structured information about the speech to apps that parse the intent of the speaker and drive further actions by the app. Models trained by </a:t>
            </a:r>
            <a:r>
              <a:rPr lang="en-US">
                <a:effectLst/>
                <a:hlinkClick r:id="rId3"/>
              </a:rPr>
              <a:t>LUIS</a:t>
            </a:r>
            <a:r>
              <a:rPr lang="en-US">
                <a:effectLst/>
              </a:rPr>
              <a:t> service are used to generate the intent. </a:t>
            </a:r>
            <a:endParaRPr lang="zh-CN" altLang="en-US"/>
          </a:p>
        </p:txBody>
      </p:sp>
    </p:spTree>
    <p:extLst>
      <p:ext uri="{BB962C8B-B14F-4D97-AF65-F5344CB8AC3E}">
        <p14:creationId xmlns:p14="http://schemas.microsoft.com/office/powerpoint/2010/main" val="18520004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err="1">
                <a:solidFill>
                  <a:schemeClr val="tx1"/>
                </a:solidFill>
                <a:effectLst/>
                <a:latin typeface="Segoe UI Light" pitchFamily="34" charset="0"/>
                <a:ea typeface="+mn-ea"/>
                <a:cs typeface="+mn-cs"/>
                <a:hlinkClick r:id="rId3"/>
              </a:rPr>
              <a:t>Blucup</a:t>
            </a:r>
            <a:endParaRPr lang="en-US" dirty="0">
              <a:effectLst/>
            </a:endParaRPr>
          </a:p>
          <a:p>
            <a:r>
              <a:rPr lang="en-US" sz="1200" kern="1200" dirty="0">
                <a:solidFill>
                  <a:schemeClr val="tx1"/>
                </a:solidFill>
                <a:effectLst/>
                <a:latin typeface="Segoe UI Light" pitchFamily="34" charset="0"/>
                <a:ea typeface="+mn-ea"/>
                <a:cs typeface="+mn-cs"/>
              </a:rPr>
              <a:t>Finland-based </a:t>
            </a:r>
            <a:r>
              <a:rPr lang="en-US" sz="1200" kern="1200" dirty="0" err="1">
                <a:solidFill>
                  <a:schemeClr val="tx1"/>
                </a:solidFill>
                <a:effectLst/>
                <a:latin typeface="Segoe UI Light" pitchFamily="34" charset="0"/>
                <a:ea typeface="+mn-ea"/>
                <a:cs typeface="+mn-cs"/>
              </a:rPr>
              <a:t>Blucup</a:t>
            </a:r>
            <a:r>
              <a:rPr lang="en-US" sz="1200" kern="1200" dirty="0">
                <a:solidFill>
                  <a:schemeClr val="tx1"/>
                </a:solidFill>
                <a:effectLst/>
                <a:latin typeface="Segoe UI Light" pitchFamily="34" charset="0"/>
                <a:ea typeface="+mn-ea"/>
                <a:cs typeface="+mn-cs"/>
              </a:rPr>
              <a:t> was on a mission to solve a common problem: how can salespeople capture data while on the go? The company developed the Zero Keyboard app, which sales reps could use to record customer information quickly and add it automatically to their customer relationship management (CRM) systems using touch gestures, voice, and pictures. Using the Speech and Computer Vision APIs from Microsoft Cognitive Services, </a:t>
            </a:r>
            <a:r>
              <a:rPr lang="en-US" sz="1200" kern="1200" dirty="0" err="1">
                <a:solidFill>
                  <a:schemeClr val="tx1"/>
                </a:solidFill>
                <a:effectLst/>
                <a:latin typeface="Segoe UI Light" pitchFamily="34" charset="0"/>
                <a:ea typeface="+mn-ea"/>
                <a:cs typeface="+mn-cs"/>
              </a:rPr>
              <a:t>Blucup</a:t>
            </a:r>
            <a:r>
              <a:rPr lang="en-US" sz="1200" kern="1200" dirty="0">
                <a:solidFill>
                  <a:schemeClr val="tx1"/>
                </a:solidFill>
                <a:effectLst/>
                <a:latin typeface="Segoe UI Light" pitchFamily="34" charset="0"/>
                <a:ea typeface="+mn-ea"/>
                <a:cs typeface="+mn-cs"/>
              </a:rPr>
              <a:t> provides customers with accurate results and rich features—all while speeding development internally.</a:t>
            </a:r>
          </a:p>
          <a:p>
            <a:r>
              <a:rPr lang="en-US" sz="1200" kern="1200" dirty="0">
                <a:solidFill>
                  <a:schemeClr val="tx1"/>
                </a:solidFill>
                <a:effectLst/>
                <a:latin typeface="Segoe UI Light" pitchFamily="34" charset="0"/>
                <a:ea typeface="+mn-ea"/>
                <a:cs typeface="+mn-cs"/>
              </a:rPr>
              <a:t> </a:t>
            </a: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1634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Eliminate speech recognition barriers like speaking style, background noise, and vocabulary. </a:t>
            </a:r>
          </a:p>
          <a:p>
            <a:r>
              <a:rPr lang="en-US" sz="1200" kern="1200">
                <a:solidFill>
                  <a:schemeClr val="tx1"/>
                </a:solidFill>
                <a:effectLst/>
                <a:latin typeface="+mn-lt"/>
                <a:ea typeface="+mn-ea"/>
                <a:cs typeface="+mn-cs"/>
              </a:rPr>
              <a:t>Does your speech recognition work with varied user populations, vocabularies, or with background noise? The Custom Recognition Intelligent Service (CRIS) helps you create custom speech recognition endpoints—so accents and environments are features, not challenges. </a:t>
            </a:r>
          </a:p>
          <a:p>
            <a:r>
              <a:rPr lang="en-US" sz="1200" kern="1200">
                <a:solidFill>
                  <a:schemeClr val="tx1"/>
                </a:solidFill>
                <a:effectLst/>
                <a:latin typeface="+mn-lt"/>
                <a:ea typeface="+mn-ea"/>
                <a:cs typeface="+mn-cs"/>
              </a:rPr>
              <a:t>Customize your speech recognition by vocabulary and speaking style, create custom acoustic models to match the expected environment of your users, and tap into the API's powerful intelligence to create speech recognition endpoints customized to your app's needs. Turn language barriers into features with CRIS. </a:t>
            </a:r>
          </a:p>
        </p:txBody>
      </p:sp>
    </p:spTree>
    <p:extLst>
      <p:ext uri="{BB962C8B-B14F-4D97-AF65-F5344CB8AC3E}">
        <p14:creationId xmlns:p14="http://schemas.microsoft.com/office/powerpoint/2010/main" val="15442028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565113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70208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Your users' voices are their passports with the Speaker Recognition API. Your app can authenticate identities by using someone's voice, giving your users the capability to interact securely through speech. </a:t>
            </a:r>
          </a:p>
        </p:txBody>
      </p:sp>
    </p:spTree>
    <p:extLst>
      <p:ext uri="{BB962C8B-B14F-4D97-AF65-F5344CB8AC3E}">
        <p14:creationId xmlns:p14="http://schemas.microsoft.com/office/powerpoint/2010/main" val="4115126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371143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8 9: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3476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he Bing Spell Check API corrects spelling errors, contextually recognizes names and slang, understands homonyms, and supports brand names. </a:t>
            </a:r>
            <a:endParaRPr lang="zh-CN" altLang="en-US"/>
          </a:p>
        </p:txBody>
      </p:sp>
    </p:spTree>
    <p:extLst>
      <p:ext uri="{BB962C8B-B14F-4D97-AF65-F5344CB8AC3E}">
        <p14:creationId xmlns:p14="http://schemas.microsoft.com/office/powerpoint/2010/main" val="14580495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8092814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Understand language contextually, so your app communicates with people in the way they speak. </a:t>
            </a:r>
          </a:p>
          <a:p>
            <a:r>
              <a:rPr lang="en-US" sz="1200" kern="1200" dirty="0">
                <a:solidFill>
                  <a:schemeClr val="tx1"/>
                </a:solidFill>
                <a:effectLst/>
                <a:latin typeface="+mn-lt"/>
                <a:ea typeface="+mn-ea"/>
                <a:cs typeface="+mn-cs"/>
              </a:rPr>
              <a:t>Do your apps understand language in the way people speak it—contextually? With the Language Understanding Intelligent Service (LUIS) API, you can integrate language models that understand your users quickly and easily. And if one of our preexisting models won't work, it will guide you through building your own. </a:t>
            </a:r>
          </a:p>
          <a:p>
            <a:r>
              <a:rPr lang="en-US" sz="1200" kern="1200" dirty="0">
                <a:solidFill>
                  <a:schemeClr val="tx1"/>
                </a:solidFill>
                <a:effectLst/>
                <a:latin typeface="+mn-lt"/>
                <a:ea typeface="+mn-ea"/>
                <a:cs typeface="+mn-cs"/>
              </a:rPr>
              <a:t>Prebuilt models will recognize places, times, numbers, and temperatures, and handle common requests like "set an alarm for 8 AM." LUIS supports dialogue and action fulfillment, so your users can carry on a conversation with your app. For example, the input "schedule a meeting with Allison" results in the question "when?," allowing the user to respond "3 PM," and the meeting gets scheduled. </a:t>
            </a:r>
          </a:p>
        </p:txBody>
      </p:sp>
    </p:spTree>
    <p:extLst>
      <p:ext uri="{BB962C8B-B14F-4D97-AF65-F5344CB8AC3E}">
        <p14:creationId xmlns:p14="http://schemas.microsoft.com/office/powerpoint/2010/main" val="12756355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5811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6622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6403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You know what your users are saying, but do you know what it means? The Linguistic API uses advanced linguistic analysis tools for natural language processing, giving you access to part-of-speech tagging and parsing. These tools allow you to hone in on important concepts and actions. The API can tap into traditional linguistic analysis tools that allow you to identify the concepts and actions in your text with part-of-speech tagging, and find phrases and concepts using natural language parsers. Whether you’re mining customer feedback, interpreting user commands, or consuming web text, understanding the structure of the text is a critical first step. </a:t>
            </a:r>
            <a:endParaRPr lang="zh-CN" altLang="en-US" dirty="0"/>
          </a:p>
        </p:txBody>
      </p:sp>
    </p:spTree>
    <p:extLst>
      <p:ext uri="{BB962C8B-B14F-4D97-AF65-F5344CB8AC3E}">
        <p14:creationId xmlns:p14="http://schemas.microsoft.com/office/powerpoint/2010/main" val="9809777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247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Understanding and analyzing unstructured text is an increasingly popular field and includes a wide spectrum of problems such as sentiment analysis, key phrase extraction, topic modeling/extraction, aspect extraction and more.</a:t>
            </a:r>
          </a:p>
        </p:txBody>
      </p:sp>
    </p:spTree>
    <p:extLst>
      <p:ext uri="{BB962C8B-B14F-4D97-AF65-F5344CB8AC3E}">
        <p14:creationId xmlns:p14="http://schemas.microsoft.com/office/powerpoint/2010/main" val="386860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8 9: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Automate a variety of standard natural language processing tasks using state-of-the-art language modeling API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o you need to know how frequently certain words appear together? Or figure out which words a user might type next? Or how to break a hashtag into individual words? The Web Language Model API lets your app do all of this quickly and </a:t>
            </a:r>
            <a:r>
              <a:rPr lang="en-US" sz="1200" kern="1200" dirty="0" err="1">
                <a:solidFill>
                  <a:schemeClr val="tx1"/>
                </a:solidFill>
                <a:effectLst/>
                <a:latin typeface="+mn-lt"/>
                <a:ea typeface="+mn-ea"/>
                <a:cs typeface="+mn-cs"/>
              </a:rPr>
              <a:t>accuratel</a:t>
            </a:r>
            <a:r>
              <a:rPr lang="en-US" sz="1200" kern="1200" dirty="0">
                <a:solidFill>
                  <a:schemeClr val="tx1"/>
                </a:solidFill>
                <a:effectLst/>
                <a:latin typeface="+mn-lt"/>
                <a:ea typeface="+mn-ea"/>
                <a:cs typeface="+mn-cs"/>
              </a:rPr>
              <a:t>.</a:t>
            </a:r>
          </a:p>
          <a:p>
            <a:endParaRPr lang="zh-CN" altLang="en-US" dirty="0"/>
          </a:p>
        </p:txBody>
      </p:sp>
    </p:spTree>
    <p:extLst>
      <p:ext uri="{BB962C8B-B14F-4D97-AF65-F5344CB8AC3E}">
        <p14:creationId xmlns:p14="http://schemas.microsoft.com/office/powerpoint/2010/main" val="24557590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000"/>
              <a:t>. Try now the Speech Translator demo App on : https://github.com/MicrosoftTranslator/SpeechTransl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 Try now the Document Translator demo, translating (batches of) Word or pdf documents while preserving the formatting : https://www.microsoft.com/en-us/translator/doctranslator.asp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a:p>
            <a:r>
              <a:rPr lang="en-US" sz="2000" b="1"/>
              <a:t>Language detection</a:t>
            </a:r>
          </a:p>
          <a:p>
            <a:r>
              <a:rPr lang="en-US" sz="2000">
                <a:effectLst/>
              </a:rPr>
              <a:t>The Translator Text API automatically detects the language of the text that’s sent before translating it. If your application simply needs to know what language the text is in, you can also call the API to detect the language of any text string. </a:t>
            </a:r>
          </a:p>
          <a:p>
            <a:r>
              <a:rPr lang="en-US" sz="2000" b="1"/>
              <a:t>Translation</a:t>
            </a:r>
          </a:p>
          <a:p>
            <a:r>
              <a:rPr lang="en-US" sz="2000">
                <a:effectLst/>
              </a:rPr>
              <a:t>Add speech translation, for any of the 9 supported languages, and text translation, for any of the 60 supported languages, to your app. Grow your potential user base by localizing your app and its content with clear translations. </a:t>
            </a:r>
          </a:p>
          <a:p>
            <a:r>
              <a:rPr lang="en-US" sz="2000" b="1"/>
              <a:t>Custom translation system</a:t>
            </a:r>
          </a:p>
          <a:p>
            <a:r>
              <a:rPr lang="en-US" sz="2000">
                <a:effectLst/>
              </a:rPr>
              <a:t>Build a custom translation system, using as little as 1,000 parallel sentences or start out simply by providing a dictionary of company specific words. </a:t>
            </a:r>
          </a:p>
          <a:p>
            <a:r>
              <a:rPr lang="en-US" sz="2000" b="1"/>
              <a:t>Collaborative Translation Framework (CTF)</a:t>
            </a:r>
          </a:p>
          <a:p>
            <a:r>
              <a:rPr lang="en-US" sz="2000">
                <a:effectLst/>
              </a:rPr>
              <a:t>Improve translations by creating a specific user group that provides suggestions to improve the translations. Users suggest translations and designated approvers either approve or deny changes. These updated translations can then be used for the company’s specific Hub to further improve its custom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p:txBody>
      </p:sp>
    </p:spTree>
    <p:extLst>
      <p:ext uri="{BB962C8B-B14F-4D97-AF65-F5344CB8AC3E}">
        <p14:creationId xmlns:p14="http://schemas.microsoft.com/office/powerpoint/2010/main" val="23682834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7272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ap into the wealth of academic content in the Microsoft Academic Graph using the Academic Knowledge API. </a:t>
            </a:r>
          </a:p>
          <a:p>
            <a:r>
              <a:rPr lang="en-US" sz="1200" kern="1200">
                <a:solidFill>
                  <a:schemeClr val="tx1"/>
                </a:solidFill>
                <a:effectLst/>
                <a:latin typeface="+mn-lt"/>
                <a:ea typeface="+mn-ea"/>
                <a:cs typeface="+mn-cs"/>
              </a:rPr>
              <a:t>Do your users know who the top scholars have been in machine learning over the last three years? What about every paper authored by an expert like Li Deng from Microsoft? The Academic Knowledge API answers these and other questions by applying the Knowledge Exploration Service to the Microsoft Academic Graph. Users can start from natural language queries, or you can ping the graph directly through structured query expressions. </a:t>
            </a:r>
          </a:p>
          <a:p>
            <a:r>
              <a:rPr lang="en-US" sz="1200" kern="1200">
                <a:solidFill>
                  <a:schemeClr val="tx1"/>
                </a:solidFill>
                <a:effectLst/>
                <a:latin typeface="+mn-lt"/>
                <a:ea typeface="+mn-ea"/>
                <a:cs typeface="+mn-cs"/>
              </a:rPr>
              <a:t>Additionally, the Academic Knowledge API can auto-complete natural language queries and return entity results, helping users narrow research results faster. </a:t>
            </a:r>
          </a:p>
          <a:p>
            <a:r>
              <a:rPr lang="en-US" sz="1200" kern="1200">
                <a:solidFill>
                  <a:schemeClr val="tx1"/>
                </a:solidFill>
                <a:effectLst/>
                <a:latin typeface="+mn-lt"/>
                <a:ea typeface="+mn-ea"/>
                <a:cs typeface="+mn-cs"/>
              </a:rPr>
              <a:t>It can also create a histogram of attribute values for academic entries returned by a query—for example, the distribution of papers by year for an author. </a:t>
            </a:r>
          </a:p>
        </p:txBody>
      </p:sp>
    </p:spTree>
    <p:extLst>
      <p:ext uri="{BB962C8B-B14F-4D97-AF65-F5344CB8AC3E}">
        <p14:creationId xmlns:p14="http://schemas.microsoft.com/office/powerpoint/2010/main" val="36150082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rovide better user experiences by adding the Entity Linking Service to your app so that it can provide additional knowledge and facts from the web to supplement the text in context. The Entity Linking Service uses a prebuilt knowledge base to build links, and the option to acquire knowledge from your own data. </a:t>
            </a:r>
          </a:p>
          <a:p>
            <a:r>
              <a:rPr lang="en-US" sz="1200" kern="1200">
                <a:solidFill>
                  <a:schemeClr val="tx1"/>
                </a:solidFill>
                <a:effectLst/>
                <a:latin typeface="+mn-lt"/>
                <a:ea typeface="+mn-ea"/>
                <a:cs typeface="+mn-cs"/>
              </a:rPr>
              <a:t>For example, your app may need to understand that "London, the capital" is the city of </a:t>
            </a:r>
          </a:p>
          <a:p>
            <a:r>
              <a:rPr lang="en-US" sz="1200" kern="1200">
                <a:solidFill>
                  <a:schemeClr val="tx1"/>
                </a:solidFill>
                <a:effectLst/>
                <a:latin typeface="+mn-lt"/>
                <a:ea typeface="+mn-ea"/>
                <a:cs typeface="+mn-cs"/>
              </a:rPr>
              <a:t>London in the United Kingdom and not London, Ontario, or Jack London, the author. </a:t>
            </a:r>
          </a:p>
          <a:p>
            <a:r>
              <a:rPr lang="en-US" sz="1200" kern="1200">
                <a:solidFill>
                  <a:schemeClr val="tx1"/>
                </a:solidFill>
                <a:effectLst/>
                <a:latin typeface="+mn-lt"/>
                <a:ea typeface="+mn-ea"/>
                <a:cs typeface="+mn-cs"/>
              </a:rPr>
              <a:t>The Entity Linking Service provides this information quickly and within context, offering a faster, more intelligent user experience. </a:t>
            </a:r>
          </a:p>
          <a:p>
            <a:endParaRPr lang="en-US"/>
          </a:p>
        </p:txBody>
      </p:sp>
    </p:spTree>
    <p:extLst>
      <p:ext uri="{BB962C8B-B14F-4D97-AF65-F5344CB8AC3E}">
        <p14:creationId xmlns:p14="http://schemas.microsoft.com/office/powerpoint/2010/main" val="5455103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400" kern="1200" dirty="0">
                <a:solidFill>
                  <a:schemeClr val="tx1"/>
                </a:solidFill>
                <a:effectLst/>
                <a:latin typeface="+mn-lt"/>
                <a:ea typeface="+mn-ea"/>
                <a:cs typeface="+mn-cs"/>
              </a:rPr>
              <a:t>Do you have structured data for users to explore via natural language? The Knowledge Exploration Service takes structured data and linguistic resources you provide and creates a service that enables interactive search. </a:t>
            </a:r>
          </a:p>
          <a:p>
            <a:r>
              <a:rPr lang="en-US" sz="1400" kern="1200" dirty="0">
                <a:solidFill>
                  <a:schemeClr val="tx1"/>
                </a:solidFill>
                <a:effectLst/>
                <a:latin typeface="+mn-lt"/>
                <a:ea typeface="+mn-ea"/>
                <a:cs typeface="+mn-cs"/>
              </a:rPr>
              <a:t>For example, as your users enter queries in a search box, the Knowledge Exploration Service offers auto-complete suggestions and semantic annotations. You can retrieve the top matching objects from the data, and you can create histograms of attribute values among the matches. </a:t>
            </a:r>
          </a:p>
          <a:p>
            <a:endParaRPr lang="en-US" dirty="0"/>
          </a:p>
        </p:txBody>
      </p:sp>
    </p:spTree>
    <p:extLst>
      <p:ext uri="{BB962C8B-B14F-4D97-AF65-F5344CB8AC3E}">
        <p14:creationId xmlns:p14="http://schemas.microsoft.com/office/powerpoint/2010/main" val="10887569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The Recommendations API helps your customer discover items in your catalog. </a:t>
            </a:r>
          </a:p>
          <a:p>
            <a:r>
              <a:rPr lang="en-US"/>
              <a:t>Customer activity in your digital store is used to recommend items and to improve conversion in your digital store. </a:t>
            </a:r>
          </a:p>
          <a:p>
            <a:r>
              <a:rPr lang="en-US"/>
              <a:t>The recommendation engine may be trained by uploading data about past customer activity or by collecting data directly from your digital store. When the customer returns to your store you will be able to feature recommended items from your catalog that may increase your conversion rate. </a:t>
            </a:r>
          </a:p>
          <a:p>
            <a:endParaRPr lang="en-US"/>
          </a:p>
        </p:txBody>
      </p:sp>
    </p:spTree>
    <p:extLst>
      <p:ext uri="{BB962C8B-B14F-4D97-AF65-F5344CB8AC3E}">
        <p14:creationId xmlns:p14="http://schemas.microsoft.com/office/powerpoint/2010/main" val="3972377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300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08345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effectLst/>
              </a:rPr>
              <a:t>QnA</a:t>
            </a:r>
            <a:r>
              <a:rPr lang="en-US" dirty="0">
                <a:effectLst/>
              </a:rPr>
              <a:t> Maker is primarily meant to provide a FAQ data source which you can query from your Bot/Application. Although developers will find this useful, content owners will especially benefit from this tool. </a:t>
            </a:r>
            <a:r>
              <a:rPr lang="en-US" dirty="0" err="1">
                <a:effectLst/>
              </a:rPr>
              <a:t>QnA</a:t>
            </a:r>
            <a:r>
              <a:rPr lang="en-US" dirty="0">
                <a:effectLst/>
              </a:rPr>
              <a:t> Maker is a completely no-code way of managing the content that powers your Bot/Application.</a:t>
            </a:r>
          </a:p>
          <a:p>
            <a:endParaRPr lang="en-US" dirty="0"/>
          </a:p>
        </p:txBody>
      </p:sp>
    </p:spTree>
    <p:extLst>
      <p:ext uri="{BB962C8B-B14F-4D97-AF65-F5344CB8AC3E}">
        <p14:creationId xmlns:p14="http://schemas.microsoft.com/office/powerpoint/2010/main" val="1060764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8 9: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84972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 cloud-based, contextual decision-making API that sharpens with experience.</a:t>
            </a:r>
            <a:endParaRPr lang="en-US" dirty="0"/>
          </a:p>
        </p:txBody>
      </p:sp>
    </p:spTree>
    <p:extLst>
      <p:ext uri="{BB962C8B-B14F-4D97-AF65-F5344CB8AC3E}">
        <p14:creationId xmlns:p14="http://schemas.microsoft.com/office/powerpoint/2010/main" val="1136772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sz="900" kern="1200" dirty="0">
                <a:solidFill>
                  <a:schemeClr val="tx1"/>
                </a:solidFill>
                <a:effectLst/>
                <a:latin typeface="Segoe UI Light" pitchFamily="34" charset="0"/>
                <a:ea typeface="+mn-ea"/>
                <a:cs typeface="+mn-cs"/>
              </a:rPr>
              <a:t>Complex Networks wanted to improve visitors’ engagement with its owned and operated websites by using the power of AI to automate and personalize the selection of featured site content. After trying other recommendation services, Complex Networks deployed Microsoft Custom Decision Service, which produced an ongoing improvement in user click-through rates. Custom Decision Service is customizable and learns directly from a company’s own data, so Complex developers can easily fine-tune it to match business goals.</a:t>
            </a:r>
          </a:p>
          <a:p>
            <a:endParaRPr lang="en-US" dirty="0"/>
          </a:p>
          <a:p>
            <a:r>
              <a:rPr lang="en-US" b="1" dirty="0"/>
              <a:t>Challenge</a:t>
            </a:r>
          </a:p>
          <a:p>
            <a:r>
              <a:rPr lang="en-US" sz="900" kern="1200" dirty="0">
                <a:solidFill>
                  <a:schemeClr val="tx1"/>
                </a:solidFill>
                <a:effectLst/>
                <a:latin typeface="Segoe UI Light" pitchFamily="34" charset="0"/>
                <a:ea typeface="+mn-ea"/>
                <a:cs typeface="+mn-cs"/>
              </a:rPr>
              <a:t>Complex Networks owns</a:t>
            </a:r>
            <a:r>
              <a:rPr lang="en-US" sz="900" kern="1200" baseline="0" dirty="0">
                <a:solidFill>
                  <a:schemeClr val="tx1"/>
                </a:solidFill>
                <a:effectLst/>
                <a:latin typeface="Segoe UI Light" pitchFamily="34" charset="0"/>
                <a:ea typeface="+mn-ea"/>
                <a:cs typeface="+mn-cs"/>
              </a:rPr>
              <a:t> and operates more than 100 youth-oriented websites, and it is heavily focused on video content</a:t>
            </a:r>
            <a:r>
              <a:rPr lang="en-US" baseline="0" dirty="0">
                <a:effectLst/>
              </a:rPr>
              <a:t>. Keeping its websites’ content fresh and engaging is key to bringing back repeat visitors. In the past, the company’s team of editors was responsible for selecting featured content by manually tracking trending and popular videos, but Complex Networks wanted to automate the selection process using the power of AI.</a:t>
            </a:r>
            <a:endParaRPr lang="en-US" dirty="0">
              <a:effectLst/>
            </a:endParaRPr>
          </a:p>
          <a:p>
            <a:endParaRPr lang="en-US" dirty="0"/>
          </a:p>
          <a:p>
            <a:r>
              <a:rPr lang="en-US" b="1" dirty="0"/>
              <a:t>Solution</a:t>
            </a:r>
          </a:p>
          <a:p>
            <a:r>
              <a:rPr lang="en-US" dirty="0"/>
              <a:t>Complex Networks performed</a:t>
            </a:r>
            <a:r>
              <a:rPr lang="en-US" baseline="0" dirty="0"/>
              <a:t> a test of Custom Decision Service to add recommendation logic to a video player on the website, then rolled it out to the main homepage of Complex.com to choose featured articles.</a:t>
            </a:r>
            <a:endParaRPr lang="en-US" dirty="0"/>
          </a:p>
          <a:p>
            <a:endParaRPr lang="en-US" dirty="0"/>
          </a:p>
          <a:p>
            <a:r>
              <a:rPr lang="en-US" b="1" dirty="0"/>
              <a:t>Benefits</a:t>
            </a:r>
          </a:p>
          <a:p>
            <a:pPr marL="174296" indent="-174296">
              <a:buFont typeface="Arial" panose="020B0604020202020204" pitchFamily="34" charset="0"/>
              <a:buChar char="•"/>
            </a:pPr>
            <a:r>
              <a:rPr lang="en-US" dirty="0"/>
              <a:t>Custom Decision Service</a:t>
            </a:r>
            <a:r>
              <a:rPr lang="en-US" baseline="0" dirty="0"/>
              <a:t> learns over time, so recommendations keep getting better</a:t>
            </a:r>
            <a:endParaRPr lang="en-US" dirty="0"/>
          </a:p>
          <a:p>
            <a:pPr marL="174296" indent="-174296">
              <a:buFont typeface="Arial" panose="020B0604020202020204" pitchFamily="34" charset="0"/>
              <a:buChar char="•"/>
            </a:pPr>
            <a:r>
              <a:rPr lang="en-US" dirty="0"/>
              <a:t>The service works around the clock,</a:t>
            </a:r>
            <a:r>
              <a:rPr lang="en-US" baseline="0" dirty="0"/>
              <a:t> so it continues optimizing results even when no one is in the office</a:t>
            </a:r>
            <a:endParaRPr lang="en-US" dirty="0"/>
          </a:p>
          <a:p>
            <a:pPr marL="174296" indent="-174296">
              <a:buFont typeface="Arial" panose="020B0604020202020204" pitchFamily="34" charset="0"/>
              <a:buChar char="•"/>
            </a:pPr>
            <a:r>
              <a:rPr lang="en-US" baseline="0" dirty="0"/>
              <a:t>Editors spend time creating the best possible content, rather than worrying about ranking articles</a:t>
            </a:r>
            <a:endParaRPr lang="en-US" dirty="0"/>
          </a:p>
          <a:p>
            <a:pPr marL="174296" indent="-174296">
              <a:buFont typeface="Arial" panose="020B0604020202020204" pitchFamily="34" charset="0"/>
              <a:buChar char="•"/>
            </a:pPr>
            <a:r>
              <a:rPr lang="en-US" baseline="0" dirty="0"/>
              <a:t>Custom Decision Service interfaces with other Cognitive Services APIs to further enhance results </a:t>
            </a:r>
          </a:p>
          <a:p>
            <a:pPr marL="174296" indent="-174296">
              <a:buFont typeface="Arial" panose="020B0604020202020204" pitchFamily="34" charset="0"/>
              <a:buChar char="•"/>
            </a:pPr>
            <a:r>
              <a:rPr lang="en-US" baseline="0" dirty="0"/>
              <a:t>The service is easy to implement and understand, and it has improved developers’ knowledge of machine learning</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hlinkClick r:id="rId3"/>
              </a:rPr>
              <a:t>https://customers.microsoft.com/en-us/story/complex-networks-media-cognitive-services</a:t>
            </a:r>
            <a:endParaRPr lang="en-US" b="1" dirty="0"/>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2960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8576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Bing Search API adds intelligent search to your app, combing hundreds of billions of webpages, images, videos, and news to provide relevant results with no ad requirements. The results can be automatically customized to your users' locations or markets, increasing relevancy by staying local. </a:t>
            </a:r>
          </a:p>
          <a:p>
            <a:endParaRPr lang="zh-CN" altLang="en-US"/>
          </a:p>
        </p:txBody>
      </p:sp>
    </p:spTree>
    <p:extLst>
      <p:ext uri="{BB962C8B-B14F-4D97-AF65-F5344CB8AC3E}">
        <p14:creationId xmlns:p14="http://schemas.microsoft.com/office/powerpoint/2010/main" val="35463812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Bing Image Search API gives you powerful image searching tools with a single call. You can tap into trending images of people, places, and things from around the world, and filter results by image style, size, layout, date added, and license type. </a:t>
            </a:r>
          </a:p>
          <a:p>
            <a:endParaRPr lang="zh-CN" altLang="en-US"/>
          </a:p>
        </p:txBody>
      </p:sp>
    </p:spTree>
    <p:extLst>
      <p:ext uri="{BB962C8B-B14F-4D97-AF65-F5344CB8AC3E}">
        <p14:creationId xmlns:p14="http://schemas.microsoft.com/office/powerpoint/2010/main" val="16309934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Bing Video Search API offers robust video searching features with a single API call. You can receive information from around the world about trending videos, updated on a daily basis. Search results can be returned by either a static image or a motion thumbnail, allowing you to customize how your users see what they're looking for. </a:t>
            </a:r>
          </a:p>
        </p:txBody>
      </p:sp>
    </p:spTree>
    <p:extLst>
      <p:ext uri="{BB962C8B-B14F-4D97-AF65-F5344CB8AC3E}">
        <p14:creationId xmlns:p14="http://schemas.microsoft.com/office/powerpoint/2010/main" val="21465976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Bing News Search API can help turn your app into an up-to-date news center. Results from a single call bring trending news from around the world, which is updated in near-real time, so users can be kept up to date on whatever's happening in their neighborhood—or across the globe. </a:t>
            </a:r>
          </a:p>
        </p:txBody>
      </p:sp>
    </p:spTree>
    <p:extLst>
      <p:ext uri="{BB962C8B-B14F-4D97-AF65-F5344CB8AC3E}">
        <p14:creationId xmlns:p14="http://schemas.microsoft.com/office/powerpoint/2010/main" val="37527341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hether you're searching the web, a local set of data, or just asking users to enter an input into your app, the Bing Autosuggest API helps narrow the search quickly by allowing your users to see suggestions for popular search terms. It can correct perceived mistakes, and returns detailed contextual suggestions according to other searches people have found useful. </a:t>
            </a:r>
          </a:p>
        </p:txBody>
      </p:sp>
    </p:spTree>
    <p:extLst>
      <p:ext uri="{BB962C8B-B14F-4D97-AF65-F5344CB8AC3E}">
        <p14:creationId xmlns:p14="http://schemas.microsoft.com/office/powerpoint/2010/main" val="10854928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verage Bing Custom Search to build a search that fits your needs with powerful ranking, a global-scale search index, and document processing. Setup is easy and fast. The core technology works in three steps: it identifies on-topic sites, applies the Bing ranker, and delivers relevant search results while allowing you to adjust the parameters at any time.</a:t>
            </a:r>
          </a:p>
        </p:txBody>
      </p:sp>
    </p:spTree>
    <p:extLst>
      <p:ext uri="{BB962C8B-B14F-4D97-AF65-F5344CB8AC3E}">
        <p14:creationId xmlns:p14="http://schemas.microsoft.com/office/powerpoint/2010/main" val="13760167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ugment your content with entity search results</a:t>
            </a:r>
          </a:p>
          <a:p>
            <a:r>
              <a:rPr lang="en-US" dirty="0"/>
              <a:t>Improve your users experience by augmenting valuable information in your app, blog, or website. Bing Entity Search API provides primary details about the entities searched.</a:t>
            </a:r>
          </a:p>
          <a:p>
            <a:r>
              <a:rPr lang="en-US" b="1" dirty="0"/>
              <a:t>Showcase of local businesses nearby</a:t>
            </a:r>
          </a:p>
          <a:p>
            <a:r>
              <a:rPr lang="en-US" dirty="0"/>
              <a:t>Easily search and present local businesses in the US such as restaurants, hotels, coffee shops, and other businesses near a specific location for a more relevant and engaging user experience</a:t>
            </a:r>
          </a:p>
        </p:txBody>
      </p:sp>
    </p:spTree>
    <p:extLst>
      <p:ext uri="{BB962C8B-B14F-4D97-AF65-F5344CB8AC3E}">
        <p14:creationId xmlns:p14="http://schemas.microsoft.com/office/powerpoint/2010/main" val="408869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3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59045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95444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to strong documentation,</a:t>
            </a:r>
            <a:r>
              <a:rPr lang="en-US" baseline="0"/>
              <a:t> sample code and community resources is critical for developers to be able to understand and become users of Cognitive Services.  Customize these links based on your own resources or use the ones listed here.  </a:t>
            </a:r>
            <a:endParaRPr lang="en-US"/>
          </a:p>
        </p:txBody>
      </p:sp>
    </p:spTree>
    <p:extLst>
      <p:ext uri="{BB962C8B-B14F-4D97-AF65-F5344CB8AC3E}">
        <p14:creationId xmlns:p14="http://schemas.microsoft.com/office/powerpoint/2010/main" val="27094999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12049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5346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2/2018 9: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99429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8 9:33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2/2018 9: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98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jp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5" Type="http://schemas.openxmlformats.org/officeDocument/2006/relationships/image" Target="../media/image5.jp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bg>
      <p:bgPr>
        <a:solidFill>
          <a:srgbClr val="FFFFFF"/>
        </a:solidFill>
        <a:effectLst/>
      </p:bgPr>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57C8FD5-1D5C-4F01-AB86-F237B485A354}"/>
              </a:ext>
            </a:extLst>
          </p:cNvPr>
          <p:cNvGrpSpPr/>
          <p:nvPr userDrawn="1"/>
        </p:nvGrpSpPr>
        <p:grpSpPr>
          <a:xfrm>
            <a:off x="7935191" y="479816"/>
            <a:ext cx="3962477" cy="655769"/>
            <a:chOff x="7935191" y="479816"/>
            <a:chExt cx="3962477" cy="655769"/>
          </a:xfrm>
        </p:grpSpPr>
        <p:pic>
          <p:nvPicPr>
            <p:cNvPr id="3" name="Picture 2" descr="A picture containing clipart&#10;&#10;Description automatically generated">
              <a:extLst>
                <a:ext uri="{FF2B5EF4-FFF2-40B4-BE49-F238E27FC236}">
                  <a16:creationId xmlns:a16="http://schemas.microsoft.com/office/drawing/2014/main" id="{7F1AF906-7D17-4082-9AB7-86EB289575B9}"/>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5" name="Picture 4" descr="A close up of a sign&#10;&#10;Description automatically generated">
              <a:extLst>
                <a:ext uri="{FF2B5EF4-FFF2-40B4-BE49-F238E27FC236}">
                  <a16:creationId xmlns:a16="http://schemas.microsoft.com/office/drawing/2014/main" id="{FDFA97A9-459E-4629-92A3-42932107844C}"/>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10" name="Rectangle 9">
              <a:extLst>
                <a:ext uri="{FF2B5EF4-FFF2-40B4-BE49-F238E27FC236}">
                  <a16:creationId xmlns:a16="http://schemas.microsoft.com/office/drawing/2014/main" id="{67CF36C2-A997-4EB7-9489-030430482A5E}"/>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pic>
        <p:nvPicPr>
          <p:cNvPr id="4" name="Picture 3" descr="A picture containing person&#10;&#10;Description automatically generated">
            <a:extLst>
              <a:ext uri="{FF2B5EF4-FFF2-40B4-BE49-F238E27FC236}">
                <a16:creationId xmlns:a16="http://schemas.microsoft.com/office/drawing/2014/main" id="{DE15158F-0695-4368-A7F6-A46F5CA429B8}"/>
              </a:ext>
            </a:extLst>
          </p:cNvPr>
          <p:cNvPicPr>
            <a:picLocks noChangeAspect="1"/>
          </p:cNvPicPr>
          <p:nvPr userDrawn="1"/>
        </p:nvPicPr>
        <p:blipFill>
          <a:blip r:embed="rId5"/>
          <a:stretch>
            <a:fillRect/>
          </a:stretch>
        </p:blipFill>
        <p:spPr>
          <a:xfrm>
            <a:off x="939338" y="1068622"/>
            <a:ext cx="10224655" cy="5296051"/>
          </a:xfrm>
          <a:prstGeom prst="rect">
            <a:avLst/>
          </a:prstGeom>
        </p:spPr>
      </p:pic>
      <p:grpSp>
        <p:nvGrpSpPr>
          <p:cNvPr id="11" name="Group 10">
            <a:extLst>
              <a:ext uri="{FF2B5EF4-FFF2-40B4-BE49-F238E27FC236}">
                <a16:creationId xmlns:a16="http://schemas.microsoft.com/office/drawing/2014/main" id="{5F47A846-40F1-4FEB-A7B1-8C1BAB322ED4}"/>
              </a:ext>
            </a:extLst>
          </p:cNvPr>
          <p:cNvGrpSpPr/>
          <p:nvPr userDrawn="1"/>
        </p:nvGrpSpPr>
        <p:grpSpPr>
          <a:xfrm>
            <a:off x="584200" y="6510544"/>
            <a:ext cx="10942461" cy="395625"/>
            <a:chOff x="584200" y="6510544"/>
            <a:chExt cx="10942461" cy="395625"/>
          </a:xfrm>
        </p:grpSpPr>
        <p:sp>
          <p:nvSpPr>
            <p:cNvPr id="12" name="TextBox 11">
              <a:extLst>
                <a:ext uri="{FF2B5EF4-FFF2-40B4-BE49-F238E27FC236}">
                  <a16:creationId xmlns:a16="http://schemas.microsoft.com/office/drawing/2014/main" id="{C2EE1D62-A0E3-4173-BA60-E0813D246815}"/>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3" name="Rectangle 12">
              <a:extLst>
                <a:ext uri="{FF2B5EF4-FFF2-40B4-BE49-F238E27FC236}">
                  <a16:creationId xmlns:a16="http://schemas.microsoft.com/office/drawing/2014/main" id="{6DCB6D75-77C1-45AB-8A39-037542FF4E6B}"/>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4" name="Rectangle 13">
              <a:extLst>
                <a:ext uri="{FF2B5EF4-FFF2-40B4-BE49-F238E27FC236}">
                  <a16:creationId xmlns:a16="http://schemas.microsoft.com/office/drawing/2014/main" id="{3A1EF628-1667-44AD-A434-2E047686A8E2}"/>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p:bg>
      <p:bgPr>
        <a:solidFill>
          <a:srgbClr val="FFFFFF"/>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7" name="Group 6">
            <a:extLst>
              <a:ext uri="{FF2B5EF4-FFF2-40B4-BE49-F238E27FC236}">
                <a16:creationId xmlns:a16="http://schemas.microsoft.com/office/drawing/2014/main" id="{9D796AB0-241D-4724-AA1D-4F70A24646EC}"/>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572DF7A0-24CB-49B3-A725-73CDB57CA653}"/>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C1C34B14-A238-452C-869A-01DBBF7B5CF5}"/>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223D9F46-566C-410B-89CD-1864B6E0CA4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quare Photo body tex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grpSp>
        <p:nvGrpSpPr>
          <p:cNvPr id="6" name="Group 5">
            <a:extLst>
              <a:ext uri="{FF2B5EF4-FFF2-40B4-BE49-F238E27FC236}">
                <a16:creationId xmlns:a16="http://schemas.microsoft.com/office/drawing/2014/main" id="{9B3E59D8-1B15-49DB-8C08-41BB6299693D}"/>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1AEC640B-4714-4989-9FC3-D2A059D79F95}"/>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9B25D97D-ADA1-4970-A4AC-FA4FF3641F5C}"/>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065F6938-BD2F-46FB-A744-AE631E398E3B}"/>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7" name="Group 6">
            <a:extLst>
              <a:ext uri="{FF2B5EF4-FFF2-40B4-BE49-F238E27FC236}">
                <a16:creationId xmlns:a16="http://schemas.microsoft.com/office/drawing/2014/main" id="{16F9295D-75C2-4B28-BAD7-6DE9B7CFC944}"/>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9AB8DA83-5858-4BB6-A4ED-4E4D6B36555C}"/>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46E8A314-E0F9-4F24-A9A5-D7C73BB5E284}"/>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5C5A0139-FAB8-4B8F-9485-9B2D7BFB1785}"/>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Vide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5" name="Group 4">
            <a:extLst>
              <a:ext uri="{FF2B5EF4-FFF2-40B4-BE49-F238E27FC236}">
                <a16:creationId xmlns:a16="http://schemas.microsoft.com/office/drawing/2014/main" id="{F27F55E6-A487-4207-B84D-8CAED083CB48}"/>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22EF5E49-A721-4722-9779-08C0D5CA39B1}"/>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82580909-1283-4C56-B0DE-75E48A5CEC5E}"/>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7915F7F6-DA25-467D-BB9B-9ED850105C48}"/>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Titl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5" name="Group 4">
            <a:extLst>
              <a:ext uri="{FF2B5EF4-FFF2-40B4-BE49-F238E27FC236}">
                <a16:creationId xmlns:a16="http://schemas.microsoft.com/office/drawing/2014/main" id="{4B880554-4BBA-4768-8E42-AD8790E48A70}"/>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9B8DF8A7-A340-42D0-B6D9-C409D2722370}"/>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F6E102D0-6991-4841-9DCE-AE071A4DA346}"/>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9730C4B5-BF41-4016-90BE-A86C0DDBB77E}"/>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FFFFFF"/>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0CC55E8-08CE-4420-BA1A-62BE1ED13DA5}"/>
              </a:ext>
            </a:extLst>
          </p:cNvPr>
          <p:cNvGrpSpPr/>
          <p:nvPr userDrawn="1"/>
        </p:nvGrpSpPr>
        <p:grpSpPr>
          <a:xfrm>
            <a:off x="584200" y="6510544"/>
            <a:ext cx="10942461" cy="395625"/>
            <a:chOff x="584200" y="6510544"/>
            <a:chExt cx="10942461" cy="395625"/>
          </a:xfrm>
        </p:grpSpPr>
        <p:sp>
          <p:nvSpPr>
            <p:cNvPr id="5" name="TextBox 4">
              <a:extLst>
                <a:ext uri="{FF2B5EF4-FFF2-40B4-BE49-F238E27FC236}">
                  <a16:creationId xmlns:a16="http://schemas.microsoft.com/office/drawing/2014/main" id="{3A178334-3418-431D-B8C2-B138D959C93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6" name="Rectangle 5">
              <a:extLst>
                <a:ext uri="{FF2B5EF4-FFF2-40B4-BE49-F238E27FC236}">
                  <a16:creationId xmlns:a16="http://schemas.microsoft.com/office/drawing/2014/main" id="{80BABD17-60FC-4CCE-B420-A5ACA66BF9ED}"/>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7" name="Rectangle 6">
              <a:extLst>
                <a:ext uri="{FF2B5EF4-FFF2-40B4-BE49-F238E27FC236}">
                  <a16:creationId xmlns:a16="http://schemas.microsoft.com/office/drawing/2014/main" id="{C81E1600-7BD5-4A1E-8E38-403EE4DBF5F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E2CF3F3F-6077-4566-B18E-92C794E1EF4B}"/>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30BE30E3-E356-46BD-914A-B40AB532BA47}"/>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D266B37B-88DC-4AE3-AA66-D44C32D8A8A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18B92379-B619-465F-B909-53D6A841B4CD}"/>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FFFFFF"/>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grpSp>
        <p:nvGrpSpPr>
          <p:cNvPr id="5" name="Group 4">
            <a:extLst>
              <a:ext uri="{FF2B5EF4-FFF2-40B4-BE49-F238E27FC236}">
                <a16:creationId xmlns:a16="http://schemas.microsoft.com/office/drawing/2014/main" id="{AD91C263-FCF0-486C-878F-378FC22B39C2}"/>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3AAC8178-9568-4FC2-9E30-C6BE84ABC822}"/>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21497995-EA81-4B43-B464-48166F8921D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AD91D2AC-B6FC-4DA5-8352-942348F993C4}"/>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Walk-in">
    <p:bg>
      <p:bgPr>
        <a:solidFill>
          <a:srgbClr val="FFFFFF"/>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F82E0A46-B6B4-4948-85A7-A454750AE07B}"/>
              </a:ext>
            </a:extLst>
          </p:cNvPr>
          <p:cNvGrpSpPr/>
          <p:nvPr userDrawn="1"/>
        </p:nvGrpSpPr>
        <p:grpSpPr>
          <a:xfrm>
            <a:off x="7935191" y="479816"/>
            <a:ext cx="3962477" cy="655769"/>
            <a:chOff x="7935191" y="479816"/>
            <a:chExt cx="3962477" cy="655769"/>
          </a:xfrm>
        </p:grpSpPr>
        <p:pic>
          <p:nvPicPr>
            <p:cNvPr id="6" name="Picture 5" descr="A picture containing clipart&#10;&#10;Description automatically generated">
              <a:extLst>
                <a:ext uri="{FF2B5EF4-FFF2-40B4-BE49-F238E27FC236}">
                  <a16:creationId xmlns:a16="http://schemas.microsoft.com/office/drawing/2014/main" id="{A192639B-5949-4F80-9C68-F886724822DD}"/>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8" name="Picture 7" descr="A close up of a sign&#10;&#10;Description automatically generated">
              <a:extLst>
                <a:ext uri="{FF2B5EF4-FFF2-40B4-BE49-F238E27FC236}">
                  <a16:creationId xmlns:a16="http://schemas.microsoft.com/office/drawing/2014/main" id="{7B025952-3D39-4677-B653-355DAF14C5AE}"/>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9" name="Rectangle 8">
              <a:extLst>
                <a:ext uri="{FF2B5EF4-FFF2-40B4-BE49-F238E27FC236}">
                  <a16:creationId xmlns:a16="http://schemas.microsoft.com/office/drawing/2014/main" id="{90CEDEB6-E1CA-4E77-8F7B-30327276792B}"/>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grpSp>
        <p:nvGrpSpPr>
          <p:cNvPr id="12" name="Group 11">
            <a:extLst>
              <a:ext uri="{FF2B5EF4-FFF2-40B4-BE49-F238E27FC236}">
                <a16:creationId xmlns:a16="http://schemas.microsoft.com/office/drawing/2014/main" id="{183E9968-AEB1-46BB-AF96-4AB80103B1D6}"/>
              </a:ext>
            </a:extLst>
          </p:cNvPr>
          <p:cNvGrpSpPr/>
          <p:nvPr userDrawn="1"/>
        </p:nvGrpSpPr>
        <p:grpSpPr>
          <a:xfrm>
            <a:off x="584200" y="6510544"/>
            <a:ext cx="10942461" cy="395625"/>
            <a:chOff x="584200" y="6510544"/>
            <a:chExt cx="10942461" cy="395625"/>
          </a:xfrm>
        </p:grpSpPr>
        <p:sp>
          <p:nvSpPr>
            <p:cNvPr id="13" name="TextBox 12">
              <a:extLst>
                <a:ext uri="{FF2B5EF4-FFF2-40B4-BE49-F238E27FC236}">
                  <a16:creationId xmlns:a16="http://schemas.microsoft.com/office/drawing/2014/main" id="{9C0AF068-4C13-4036-9F15-0D11D96AC091}"/>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4" name="Rectangle 13">
              <a:extLst>
                <a:ext uri="{FF2B5EF4-FFF2-40B4-BE49-F238E27FC236}">
                  <a16:creationId xmlns:a16="http://schemas.microsoft.com/office/drawing/2014/main" id="{59B841CB-5C70-4418-AA5C-F067017F02DB}"/>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5" name="Rectangle 14">
              <a:extLst>
                <a:ext uri="{FF2B5EF4-FFF2-40B4-BE49-F238E27FC236}">
                  <a16:creationId xmlns:a16="http://schemas.microsoft.com/office/drawing/2014/main" id="{66554C7B-E21A-4D45-927C-2EFC359A8508}"/>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pic>
        <p:nvPicPr>
          <p:cNvPr id="16" name="Picture 15" descr="A picture containing person&#10;&#10;Description automatically generated">
            <a:extLst>
              <a:ext uri="{FF2B5EF4-FFF2-40B4-BE49-F238E27FC236}">
                <a16:creationId xmlns:a16="http://schemas.microsoft.com/office/drawing/2014/main" id="{A7D15103-EC08-416B-BEBC-242BE37214E0}"/>
              </a:ext>
            </a:extLst>
          </p:cNvPr>
          <p:cNvPicPr>
            <a:picLocks noChangeAspect="1"/>
          </p:cNvPicPr>
          <p:nvPr userDrawn="1"/>
        </p:nvPicPr>
        <p:blipFill>
          <a:blip r:embed="rId5"/>
          <a:stretch>
            <a:fillRect/>
          </a:stretch>
        </p:blipFill>
        <p:spPr>
          <a:xfrm>
            <a:off x="939338" y="1068622"/>
            <a:ext cx="10224655" cy="5296051"/>
          </a:xfrm>
          <a:prstGeom prst="rect">
            <a:avLst/>
          </a:prstGeom>
        </p:spPr>
      </p:pic>
    </p:spTree>
    <p:extLst>
      <p:ext uri="{BB962C8B-B14F-4D97-AF65-F5344CB8AC3E}">
        <p14:creationId xmlns:p14="http://schemas.microsoft.com/office/powerpoint/2010/main" val="3127578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Slide">
    <p:bg>
      <p:bgPr>
        <a:solidFill>
          <a:srgbClr val="FFFFFF"/>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grpSp>
        <p:nvGrpSpPr>
          <p:cNvPr id="9" name="Group 8">
            <a:extLst>
              <a:ext uri="{FF2B5EF4-FFF2-40B4-BE49-F238E27FC236}">
                <a16:creationId xmlns:a16="http://schemas.microsoft.com/office/drawing/2014/main" id="{BAC18897-D3F6-4D4B-B9C1-5D2B4D5C3EC5}"/>
              </a:ext>
            </a:extLst>
          </p:cNvPr>
          <p:cNvGrpSpPr/>
          <p:nvPr userDrawn="1"/>
        </p:nvGrpSpPr>
        <p:grpSpPr>
          <a:xfrm>
            <a:off x="7935191" y="479816"/>
            <a:ext cx="3962477" cy="655769"/>
            <a:chOff x="7935191" y="479816"/>
            <a:chExt cx="3962477" cy="655769"/>
          </a:xfrm>
        </p:grpSpPr>
        <p:pic>
          <p:nvPicPr>
            <p:cNvPr id="10" name="Picture 9" descr="A picture containing clipart&#10;&#10;Description automatically generated">
              <a:extLst>
                <a:ext uri="{FF2B5EF4-FFF2-40B4-BE49-F238E27FC236}">
                  <a16:creationId xmlns:a16="http://schemas.microsoft.com/office/drawing/2014/main" id="{42E3D751-9437-4334-94C4-ECF57C0BC433}"/>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11" name="Picture 10" descr="A close up of a sign&#10;&#10;Description automatically generated">
              <a:extLst>
                <a:ext uri="{FF2B5EF4-FFF2-40B4-BE49-F238E27FC236}">
                  <a16:creationId xmlns:a16="http://schemas.microsoft.com/office/drawing/2014/main" id="{26F0FFCF-D407-430D-9355-EEEA2CAD841E}"/>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12" name="Rectangle 11">
              <a:extLst>
                <a:ext uri="{FF2B5EF4-FFF2-40B4-BE49-F238E27FC236}">
                  <a16:creationId xmlns:a16="http://schemas.microsoft.com/office/drawing/2014/main" id="{90148789-2A4B-4CD3-84FB-E5B6D89B5925}"/>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grpSp>
        <p:nvGrpSpPr>
          <p:cNvPr id="3" name="Group 2">
            <a:extLst>
              <a:ext uri="{FF2B5EF4-FFF2-40B4-BE49-F238E27FC236}">
                <a16:creationId xmlns:a16="http://schemas.microsoft.com/office/drawing/2014/main" id="{4AC3B564-A5B5-42C3-926F-35FEF1D78421}"/>
              </a:ext>
            </a:extLst>
          </p:cNvPr>
          <p:cNvGrpSpPr/>
          <p:nvPr userDrawn="1"/>
        </p:nvGrpSpPr>
        <p:grpSpPr>
          <a:xfrm>
            <a:off x="584200" y="6510544"/>
            <a:ext cx="10942461" cy="395625"/>
            <a:chOff x="584200" y="6510544"/>
            <a:chExt cx="10942461" cy="395625"/>
          </a:xfrm>
        </p:grpSpPr>
        <p:sp>
          <p:nvSpPr>
            <p:cNvPr id="13" name="TextBox 12">
              <a:extLst>
                <a:ext uri="{FF2B5EF4-FFF2-40B4-BE49-F238E27FC236}">
                  <a16:creationId xmlns:a16="http://schemas.microsoft.com/office/drawing/2014/main" id="{DA165DDE-0E34-4D31-9C6F-4BA03EF9BF0C}"/>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4" name="Rectangle 13">
              <a:extLst>
                <a:ext uri="{FF2B5EF4-FFF2-40B4-BE49-F238E27FC236}">
                  <a16:creationId xmlns:a16="http://schemas.microsoft.com/office/drawing/2014/main" id="{81A4DCA5-29F8-41BD-B942-241362E2305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5" name="Rectangle 14">
              <a:extLst>
                <a:ext uri="{FF2B5EF4-FFF2-40B4-BE49-F238E27FC236}">
                  <a16:creationId xmlns:a16="http://schemas.microsoft.com/office/drawing/2014/main" id="{1A58F407-9CB0-431C-A813-6F1900AB20D5}"/>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Slide">
    <p:bg>
      <p:bgPr>
        <a:solidFill>
          <a:srgbClr val="FFFFFF"/>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grpSp>
        <p:nvGrpSpPr>
          <p:cNvPr id="10" name="Group 9">
            <a:extLst>
              <a:ext uri="{FF2B5EF4-FFF2-40B4-BE49-F238E27FC236}">
                <a16:creationId xmlns:a16="http://schemas.microsoft.com/office/drawing/2014/main" id="{513AD94A-A228-46F8-845C-EF5D3EC75CC0}"/>
              </a:ext>
            </a:extLst>
          </p:cNvPr>
          <p:cNvGrpSpPr/>
          <p:nvPr userDrawn="1"/>
        </p:nvGrpSpPr>
        <p:grpSpPr>
          <a:xfrm>
            <a:off x="7935191" y="479816"/>
            <a:ext cx="3962477" cy="655769"/>
            <a:chOff x="7935191" y="479816"/>
            <a:chExt cx="3962477" cy="655769"/>
          </a:xfrm>
        </p:grpSpPr>
        <p:pic>
          <p:nvPicPr>
            <p:cNvPr id="11" name="Picture 10" descr="A picture containing clipart&#10;&#10;Description automatically generated">
              <a:extLst>
                <a:ext uri="{FF2B5EF4-FFF2-40B4-BE49-F238E27FC236}">
                  <a16:creationId xmlns:a16="http://schemas.microsoft.com/office/drawing/2014/main" id="{356C35CD-D0EF-4833-8FAC-D9BF39A5F159}"/>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12" name="Picture 11" descr="A close up of a sign&#10;&#10;Description automatically generated">
              <a:extLst>
                <a:ext uri="{FF2B5EF4-FFF2-40B4-BE49-F238E27FC236}">
                  <a16:creationId xmlns:a16="http://schemas.microsoft.com/office/drawing/2014/main" id="{AE07D78C-6E7B-4AA3-A170-1A2DB0B23C91}"/>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13" name="Rectangle 12">
              <a:extLst>
                <a:ext uri="{FF2B5EF4-FFF2-40B4-BE49-F238E27FC236}">
                  <a16:creationId xmlns:a16="http://schemas.microsoft.com/office/drawing/2014/main" id="{D0134B45-20D2-4B0C-AE53-C1F19E1FFA80}"/>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grpSp>
        <p:nvGrpSpPr>
          <p:cNvPr id="16" name="Group 15">
            <a:extLst>
              <a:ext uri="{FF2B5EF4-FFF2-40B4-BE49-F238E27FC236}">
                <a16:creationId xmlns:a16="http://schemas.microsoft.com/office/drawing/2014/main" id="{5B6F013D-C13D-4659-B6CD-09046208B243}"/>
              </a:ext>
            </a:extLst>
          </p:cNvPr>
          <p:cNvGrpSpPr/>
          <p:nvPr userDrawn="1"/>
        </p:nvGrpSpPr>
        <p:grpSpPr>
          <a:xfrm>
            <a:off x="584200" y="6510544"/>
            <a:ext cx="10942461" cy="395625"/>
            <a:chOff x="584200" y="6510544"/>
            <a:chExt cx="10942461" cy="395625"/>
          </a:xfrm>
        </p:grpSpPr>
        <p:sp>
          <p:nvSpPr>
            <p:cNvPr id="17" name="TextBox 16">
              <a:extLst>
                <a:ext uri="{FF2B5EF4-FFF2-40B4-BE49-F238E27FC236}">
                  <a16:creationId xmlns:a16="http://schemas.microsoft.com/office/drawing/2014/main" id="{AC48FA8F-6AF8-41E8-AB09-DF3674E60ED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8" name="Rectangle 17">
              <a:extLst>
                <a:ext uri="{FF2B5EF4-FFF2-40B4-BE49-F238E27FC236}">
                  <a16:creationId xmlns:a16="http://schemas.microsoft.com/office/drawing/2014/main" id="{B5999783-BCC8-49A8-836D-29141164B6CF}"/>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9" name="Rectangle 18">
              <a:extLst>
                <a:ext uri="{FF2B5EF4-FFF2-40B4-BE49-F238E27FC236}">
                  <a16:creationId xmlns:a16="http://schemas.microsoft.com/office/drawing/2014/main" id="{B55D8887-0510-4965-A1F6-4BAC74EA8B7C}"/>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93586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FFFFFF"/>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BEE226A9-26E8-4AB9-A18F-B7112B5FC668}"/>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E210FD3D-CD0F-4140-9415-9CFD346EC12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2A8D5AE8-02BD-436C-AE07-BDB9BAA2EF5A}"/>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2C771258-1069-4222-A93F-82C9464F6CFA}"/>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67411098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a:extLst>
              <a:ext uri="{FF2B5EF4-FFF2-40B4-BE49-F238E27FC236}">
                <a16:creationId xmlns:a16="http://schemas.microsoft.com/office/drawing/2014/main" id="{E91C379A-4F26-42B8-B22C-4F9DDA3D6445}"/>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8029BAB9-29E7-47C9-99EB-CB81FCD547D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6978429F-7BD2-4EB0-A399-CE918F8D2C6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A712F363-D6E6-4C59-B893-14DD9E770A3B}"/>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79608768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1D979822-761A-4302-BF4B-09852B29B0A8}"/>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EEB57B33-AE4E-48B9-822F-82ECFE59B42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C8ECBBFA-FFEF-4B01-9A6C-F48C01E0A3EF}"/>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1D453E4A-8E7B-4388-BA6D-6B9566152FC2}"/>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50824659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4A96B16C-3A3D-42B8-9E7A-4DE23A6565DC}"/>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2E31F10F-758F-4076-A699-52CC451A9AD6}"/>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ED59E155-2113-4C09-8EB2-B40D1B2059B2}"/>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C331C568-6B85-46FB-8AB4-D625617AC72F}"/>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4574282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923C9D91-A1BA-44AB-897E-3BB6646D4638}"/>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EB3AF712-1B7A-4028-B2EC-EE78DDDAFA8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8387A019-EC80-45A5-934B-6373DED363A3}"/>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EBC0A9AE-99AB-4594-80CB-BD61F5E653A5}"/>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3284319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grpSp>
        <p:nvGrpSpPr>
          <p:cNvPr id="6" name="Group 5">
            <a:extLst>
              <a:ext uri="{FF2B5EF4-FFF2-40B4-BE49-F238E27FC236}">
                <a16:creationId xmlns:a16="http://schemas.microsoft.com/office/drawing/2014/main" id="{8BAA33E8-9CF6-46F3-80AB-DD4129ED87F5}"/>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B9BE0F22-8ACF-4265-8E20-FE48986A1DC3}"/>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0085890E-D9AB-451B-8D26-95C8EC1E9ED5}"/>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D227D44E-BE56-4949-86F8-4BD08CE8D04B}"/>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5985428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E9A4F56-8A88-40A7-8B41-4ED74712D535}"/>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5746CE93-2986-465F-B717-F4984E635694}"/>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655C56A7-EA13-4DA2-8B5C-EC74C75FFC8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8D9AD0FE-4682-4B91-9ECE-BD4D1BCAEE9D}"/>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08748801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p:bg>
      <p:bgPr>
        <a:solidFill>
          <a:srgbClr val="FFFFFF"/>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7" name="Group 6">
            <a:extLst>
              <a:ext uri="{FF2B5EF4-FFF2-40B4-BE49-F238E27FC236}">
                <a16:creationId xmlns:a16="http://schemas.microsoft.com/office/drawing/2014/main" id="{1068144E-658A-487E-8860-685D3CEA0697}"/>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91D6A04D-521B-437C-9BC8-F062BDC18527}"/>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1" name="Rectangle 10">
              <a:extLst>
                <a:ext uri="{FF2B5EF4-FFF2-40B4-BE49-F238E27FC236}">
                  <a16:creationId xmlns:a16="http://schemas.microsoft.com/office/drawing/2014/main" id="{02CB6184-582B-48CD-B63C-45591AA9A774}"/>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2" name="Rectangle 11">
              <a:extLst>
                <a:ext uri="{FF2B5EF4-FFF2-40B4-BE49-F238E27FC236}">
                  <a16:creationId xmlns:a16="http://schemas.microsoft.com/office/drawing/2014/main" id="{AF6931D7-2DAE-4B13-AEFF-F37B5C73B296}"/>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83838085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quare Photo body tex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grpSp>
        <p:nvGrpSpPr>
          <p:cNvPr id="6" name="Group 5">
            <a:extLst>
              <a:ext uri="{FF2B5EF4-FFF2-40B4-BE49-F238E27FC236}">
                <a16:creationId xmlns:a16="http://schemas.microsoft.com/office/drawing/2014/main" id="{E0FAD6A3-CA25-4622-BB85-1DCBC3E5E204}"/>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2FFFC975-47FC-4F13-8433-397A383D985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E5E31662-E475-4FD0-BA8E-F291EFCD597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B033E365-4DC5-49FC-8B0A-769285D42E10}"/>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52467520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FFFFFF"/>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9" name="Group 8">
            <a:extLst>
              <a:ext uri="{FF2B5EF4-FFF2-40B4-BE49-F238E27FC236}">
                <a16:creationId xmlns:a16="http://schemas.microsoft.com/office/drawing/2014/main" id="{4381F392-FABB-4619-A4DD-AE7B4B0EC32A}"/>
              </a:ext>
            </a:extLst>
          </p:cNvPr>
          <p:cNvGrpSpPr/>
          <p:nvPr userDrawn="1"/>
        </p:nvGrpSpPr>
        <p:grpSpPr>
          <a:xfrm>
            <a:off x="584200" y="6510544"/>
            <a:ext cx="10942461" cy="395625"/>
            <a:chOff x="584200" y="6510544"/>
            <a:chExt cx="10942461" cy="395625"/>
          </a:xfrm>
        </p:grpSpPr>
        <p:sp>
          <p:nvSpPr>
            <p:cNvPr id="10" name="TextBox 9">
              <a:extLst>
                <a:ext uri="{FF2B5EF4-FFF2-40B4-BE49-F238E27FC236}">
                  <a16:creationId xmlns:a16="http://schemas.microsoft.com/office/drawing/2014/main" id="{6BC40BBE-EB3D-4D51-8AC1-9B45761AC59A}"/>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1" name="Rectangle 10">
              <a:extLst>
                <a:ext uri="{FF2B5EF4-FFF2-40B4-BE49-F238E27FC236}">
                  <a16:creationId xmlns:a16="http://schemas.microsoft.com/office/drawing/2014/main" id="{7399D378-F650-4BE1-AED0-03DEFD6707BE}"/>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2" name="Rectangle 11">
              <a:extLst>
                <a:ext uri="{FF2B5EF4-FFF2-40B4-BE49-F238E27FC236}">
                  <a16:creationId xmlns:a16="http://schemas.microsoft.com/office/drawing/2014/main" id="{6F32818B-7FE7-44C8-B727-2082AB20A03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6" name="Group 5">
            <a:extLst>
              <a:ext uri="{FF2B5EF4-FFF2-40B4-BE49-F238E27FC236}">
                <a16:creationId xmlns:a16="http://schemas.microsoft.com/office/drawing/2014/main" id="{01A2E532-E92A-4D34-8D70-C34D853636E9}"/>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1EC285FE-2A49-49BF-8D04-51BC84D84457}"/>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35F0CC3E-3A15-4083-BD1F-B1D0A60CCE83}"/>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86738A85-9DF3-4942-852C-68214D48879C}"/>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59999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Vide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5" name="Group 4">
            <a:extLst>
              <a:ext uri="{FF2B5EF4-FFF2-40B4-BE49-F238E27FC236}">
                <a16:creationId xmlns:a16="http://schemas.microsoft.com/office/drawing/2014/main" id="{08FAE8C6-F4B1-4877-805C-C5F49FB7DB97}"/>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F19B7949-67D5-4A9C-9F8D-5B03BB61EC38}"/>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4018A715-5D61-4654-80F2-87423C1C766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A2978607-7DE9-4365-8954-64866DB50A5F}"/>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73816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5" name="Group 4">
            <a:extLst>
              <a:ext uri="{FF2B5EF4-FFF2-40B4-BE49-F238E27FC236}">
                <a16:creationId xmlns:a16="http://schemas.microsoft.com/office/drawing/2014/main" id="{71F954C7-2477-42A8-A72F-E7F1A0B56DBD}"/>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D7BD3CDE-D901-41C6-9209-3BF9E78CF988}"/>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99624059-8FEF-4234-A859-12DF96658C3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7933B731-485A-401B-9138-E4759CEC8CE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08772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FFFFFF"/>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E5E1491-039F-4A29-997B-95C1364EEE7E}"/>
              </a:ext>
            </a:extLst>
          </p:cNvPr>
          <p:cNvGrpSpPr/>
          <p:nvPr userDrawn="1"/>
        </p:nvGrpSpPr>
        <p:grpSpPr>
          <a:xfrm>
            <a:off x="584200" y="6510544"/>
            <a:ext cx="10942461" cy="395625"/>
            <a:chOff x="584200" y="6510544"/>
            <a:chExt cx="10942461" cy="395625"/>
          </a:xfrm>
        </p:grpSpPr>
        <p:sp>
          <p:nvSpPr>
            <p:cNvPr id="5" name="TextBox 4">
              <a:extLst>
                <a:ext uri="{FF2B5EF4-FFF2-40B4-BE49-F238E27FC236}">
                  <a16:creationId xmlns:a16="http://schemas.microsoft.com/office/drawing/2014/main" id="{92B1E915-7C5E-47A3-B17B-7139E454FD0C}"/>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6" name="Rectangle 5">
              <a:extLst>
                <a:ext uri="{FF2B5EF4-FFF2-40B4-BE49-F238E27FC236}">
                  <a16:creationId xmlns:a16="http://schemas.microsoft.com/office/drawing/2014/main" id="{B6659D17-0CFA-4CDF-BA9A-87B7E0E3BBAC}"/>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7" name="Rectangle 6">
              <a:extLst>
                <a:ext uri="{FF2B5EF4-FFF2-40B4-BE49-F238E27FC236}">
                  <a16:creationId xmlns:a16="http://schemas.microsoft.com/office/drawing/2014/main" id="{E7E6059A-9E37-4FDE-B385-BA59B7849903}"/>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19995457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E42A0F54-EEDF-4E6D-A96C-D0B17A484F53}"/>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850DE225-171A-41B2-9527-0C42A79D08B5}"/>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A7D3F623-FCC9-46D2-BC39-9365583E01B8}"/>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299112FA-3C5E-417E-B6B4-A509EA7DF548}"/>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82538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FFFFFF"/>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grpSp>
        <p:nvGrpSpPr>
          <p:cNvPr id="5" name="Group 4">
            <a:extLst>
              <a:ext uri="{FF2B5EF4-FFF2-40B4-BE49-F238E27FC236}">
                <a16:creationId xmlns:a16="http://schemas.microsoft.com/office/drawing/2014/main" id="{D06EED30-F967-47F0-AC02-EB7FD104376E}"/>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C414615E-4305-4101-B8E5-825BD6393798}"/>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C592CDB6-7525-4474-A291-4C7648A88BCE}"/>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21615B36-4A50-4AB5-94E7-299B04E76C11}"/>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149400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016620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752104"/>
          </a:xfrm>
        </p:spPr>
        <p:txBody>
          <a:bodyPr/>
          <a:lstStyle>
            <a:lvl1pPr>
              <a:defRPr sz="4800">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22018176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61379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6078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a:extLst>
              <a:ext uri="{FF2B5EF4-FFF2-40B4-BE49-F238E27FC236}">
                <a16:creationId xmlns:a16="http://schemas.microsoft.com/office/drawing/2014/main" id="{6122309B-B42D-4D74-9486-7350909B2382}"/>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7E78FAEE-568B-45F9-B661-B610DA271284}"/>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E7C10B7C-A6DF-472F-B2E7-F8559F93C2B0}"/>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166DA5DF-9BFB-4327-ACDD-AA572BA7606A}"/>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881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10502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82432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3470581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1275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B072C9D3-619B-4A31-877A-A1E55B9D89CC}"/>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25EE2031-4A61-4071-8A6F-C14BB1B0E14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8352B0B3-5F6D-4CAA-B7FA-EEA670808C54}"/>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94699052-1192-4F0A-BF5A-A62D948636FE}"/>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E0E44429-5680-4FD4-A01D-DAB2108F769B}"/>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E49FC333-7814-4E05-8BE8-28E46E2A3E61}"/>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23F99032-DEA6-420A-A18B-BD7BBE196E8D}"/>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29A9DFC3-E2ED-4248-A43B-F4A19CFED03A}"/>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78EE73D8-D852-4970-8EC2-F34E9D47B0F2}"/>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E82BBFBE-559C-4C44-843D-EB5C2A163312}"/>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B452EE76-5FEF-4253-B647-480231EDC2D6}"/>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AC784809-21B0-431F-A8AD-219A8C26E1A9}"/>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grpSp>
        <p:nvGrpSpPr>
          <p:cNvPr id="6" name="Group 5">
            <a:extLst>
              <a:ext uri="{FF2B5EF4-FFF2-40B4-BE49-F238E27FC236}">
                <a16:creationId xmlns:a16="http://schemas.microsoft.com/office/drawing/2014/main" id="{A3AC428D-1219-4A32-9E52-7B33F3FCBAC7}"/>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AC931F1E-5FA9-4D53-AAC8-C5FA3F48A61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DCB330AC-8EDD-489D-9E19-3457A842351D}"/>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2E94AF87-144E-4052-A790-62FEDFB0A97D}"/>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88D0C5E-198C-45B5-A44F-50CB930CC68E}"/>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3CB24CAF-5D2E-4A48-901C-9A4CFE13A8F2}"/>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E4D80327-9A0B-4426-9D3C-C946B94B19B6}"/>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B72C26EB-0818-4A33-9065-E0C53604125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0927757"/>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5" r:id="rId6"/>
    <p:sldLayoutId id="2147484736" r:id="rId7"/>
    <p:sldLayoutId id="2147484737" r:id="rId8"/>
    <p:sldLayoutId id="2147484738" r:id="rId9"/>
    <p:sldLayoutId id="2147484739" r:id="rId10"/>
    <p:sldLayoutId id="2147484740" r:id="rId11"/>
    <p:sldLayoutId id="2147484741" r:id="rId12"/>
    <p:sldLayoutId id="2147484742" r:id="rId13"/>
    <p:sldLayoutId id="2147484743" r:id="rId14"/>
    <p:sldLayoutId id="2147484744" r:id="rId15"/>
    <p:sldLayoutId id="2147484745" r:id="rId16"/>
    <p:sldLayoutId id="2147484746" r:id="rId17"/>
    <p:sldLayoutId id="2147484747" r:id="rId18"/>
    <p:sldLayoutId id="2147484749" r:id="rId19"/>
    <p:sldLayoutId id="2147484750" r:id="rId20"/>
    <p:sldLayoutId id="2147484751" r:id="rId21"/>
    <p:sldLayoutId id="2147484752" r:id="rId22"/>
    <p:sldLayoutId id="2147484753" r:id="rId23"/>
    <p:sldLayoutId id="2147484754" r:id="rId24"/>
    <p:sldLayoutId id="2147484755" r:id="rId25"/>
    <p:sldLayoutId id="2147484756"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9.xml"/><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0.xml"/><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1.xml"/><Relationship Id="rId1" Type="http://schemas.openxmlformats.org/officeDocument/2006/relationships/slideLayout" Target="../slideLayouts/slideLayout39.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3.xml"/><Relationship Id="rId1" Type="http://schemas.openxmlformats.org/officeDocument/2006/relationships/slideLayout" Target="../slideLayouts/slideLayout40.xml"/><Relationship Id="rId5" Type="http://schemas.openxmlformats.org/officeDocument/2006/relationships/hyperlink" Target="https://www.microsoft.com/cognitive-services/en-us/vigiglobe-wizr" TargetMode="Externa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40.xml"/><Relationship Id="rId6" Type="http://schemas.openxmlformats.org/officeDocument/2006/relationships/image" Target="../media/image52.png"/><Relationship Id="rId5" Type="http://schemas.openxmlformats.org/officeDocument/2006/relationships/hyperlink" Target="http://blogs.microsoft.com/next/2016/03/30/decades-of-computer-vision-research-one-swiss-army-knife/#sm.0000czoqxnzr5e5cvyb28mj4d6jej" TargetMode="External"/><Relationship Id="rId4" Type="http://schemas.openxmlformats.org/officeDocument/2006/relationships/hyperlink" Target="https://www.youtube.com/watch?v=R2mC-NUAmMk"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9.xml"/><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39.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39.xml"/><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3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9.xml"/><Relationship Id="rId1" Type="http://schemas.openxmlformats.org/officeDocument/2006/relationships/slideLayout" Target="../slideLayouts/slideLayout39.xml"/><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30.xml"/><Relationship Id="rId1" Type="http://schemas.openxmlformats.org/officeDocument/2006/relationships/slideLayout" Target="../slideLayouts/slideLayout39.xml"/><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39.xml"/><Relationship Id="rId4" Type="http://schemas.openxmlformats.org/officeDocument/2006/relationships/image" Target="../media/image67.png"/></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3.xml"/><Relationship Id="rId1" Type="http://schemas.openxmlformats.org/officeDocument/2006/relationships/slideLayout" Target="../slideLayouts/slideLayout39.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notesSlide" Target="../notesSlides/notesSlide34.xml"/><Relationship Id="rId1" Type="http://schemas.openxmlformats.org/officeDocument/2006/relationships/slideLayout" Target="../slideLayouts/slideLayout40.xml"/><Relationship Id="rId5" Type="http://schemas.openxmlformats.org/officeDocument/2006/relationships/image" Target="../media/image71.png"/><Relationship Id="rId4" Type="http://schemas.openxmlformats.org/officeDocument/2006/relationships/image" Target="../media/image70.jpg"/></Relationships>
</file>

<file path=ppt/slides/_rels/slide36.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5.xml"/><Relationship Id="rId1" Type="http://schemas.openxmlformats.org/officeDocument/2006/relationships/slideLayout" Target="../slideLayouts/slideLayout39.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37.xml"/><Relationship Id="rId1" Type="http://schemas.openxmlformats.org/officeDocument/2006/relationships/slideLayout" Target="../slideLayouts/slideLayout40.xml"/><Relationship Id="rId6" Type="http://schemas.openxmlformats.org/officeDocument/2006/relationships/hyperlink" Target="https://www.youtube.com/watch?v=nRZh7dkB_hs&amp;feature=youtu.be" TargetMode="External"/><Relationship Id="rId5" Type="http://schemas.openxmlformats.org/officeDocument/2006/relationships/hyperlink" Target="https://customers.microsoft.com/en-us/story/human-interact-cognitive-services" TargetMode="External"/><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38.xml"/><Relationship Id="rId1" Type="http://schemas.openxmlformats.org/officeDocument/2006/relationships/slideLayout" Target="../slideLayouts/slideLayout39.xml"/><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39.xml"/><Relationship Id="rId5" Type="http://schemas.openxmlformats.org/officeDocument/2006/relationships/image" Target="../media/image77.png"/><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0.xml"/><Relationship Id="rId1" Type="http://schemas.openxmlformats.org/officeDocument/2006/relationships/slideLayout" Target="../slideLayouts/slideLayout41.xml"/><Relationship Id="rId4" Type="http://schemas.microsoft.com/office/2007/relationships/hdphoto" Target="../media/hdphoto2.wdp"/></Relationships>
</file>

<file path=ppt/slides/_rels/slide4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41.xml"/><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39.xml"/><Relationship Id="rId6" Type="http://schemas.openxmlformats.org/officeDocument/2006/relationships/image" Target="../media/image82.png"/><Relationship Id="rId5" Type="http://schemas.openxmlformats.org/officeDocument/2006/relationships/image" Target="../media/image85.png"/><Relationship Id="rId4" Type="http://schemas.openxmlformats.org/officeDocument/2006/relationships/image" Target="../media/image84.png"/></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3.xml"/><Relationship Id="rId1" Type="http://schemas.openxmlformats.org/officeDocument/2006/relationships/slideLayout" Target="../slideLayouts/slideLayout42.xml"/><Relationship Id="rId4" Type="http://schemas.openxmlformats.org/officeDocument/2006/relationships/image" Target="../media/image87.png"/></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4.xm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5.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47.xml"/><Relationship Id="rId1" Type="http://schemas.openxmlformats.org/officeDocument/2006/relationships/slideLayout" Target="../slideLayouts/slideLayout42.xml"/><Relationship Id="rId4" Type="http://schemas.openxmlformats.org/officeDocument/2006/relationships/image" Target="../media/image90.png"/></Relationships>
</file>

<file path=ppt/slides/_rels/slide4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8.xml"/><Relationship Id="rId1" Type="http://schemas.openxmlformats.org/officeDocument/2006/relationships/slideLayout" Target="../slideLayouts/slideLayout39.xml"/><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49.xml"/><Relationship Id="rId1" Type="http://schemas.openxmlformats.org/officeDocument/2006/relationships/slideLayout" Target="../slideLayouts/slideLayout39.xml"/><Relationship Id="rId4" Type="http://schemas.openxmlformats.org/officeDocument/2006/relationships/image" Target="../media/image93.png"/></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0.xml"/><Relationship Id="rId1" Type="http://schemas.openxmlformats.org/officeDocument/2006/relationships/slideLayout" Target="../slideLayouts/slideLayout39.xml"/><Relationship Id="rId4" Type="http://schemas.openxmlformats.org/officeDocument/2006/relationships/image" Target="../media/image95.png"/></Relationships>
</file>

<file path=ppt/slides/_rels/slide5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39.xml"/><Relationship Id="rId4" Type="http://schemas.openxmlformats.org/officeDocument/2006/relationships/image" Target="../media/image96.png"/></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2.xml"/><Relationship Id="rId1" Type="http://schemas.openxmlformats.org/officeDocument/2006/relationships/slideLayout" Target="../slideLayouts/slideLayout41.xml"/><Relationship Id="rId4" Type="http://schemas.microsoft.com/office/2007/relationships/hdphoto" Target="../media/hdphoto3.wdp"/></Relationships>
</file>

<file path=ppt/slides/_rels/slide5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3.xml"/><Relationship Id="rId1" Type="http://schemas.openxmlformats.org/officeDocument/2006/relationships/slideLayout" Target="../slideLayouts/slideLayout39.xml"/><Relationship Id="rId4" Type="http://schemas.openxmlformats.org/officeDocument/2006/relationships/image" Target="../media/image99.png"/></Relationships>
</file>

<file path=ppt/slides/_rels/slide55.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54.xml"/><Relationship Id="rId1" Type="http://schemas.openxmlformats.org/officeDocument/2006/relationships/slideLayout" Target="../slideLayouts/slideLayout39.xml"/><Relationship Id="rId4" Type="http://schemas.openxmlformats.org/officeDocument/2006/relationships/image" Target="../media/image101.png"/></Relationships>
</file>

<file path=ppt/slides/_rels/slide5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5.xml"/><Relationship Id="rId1" Type="http://schemas.openxmlformats.org/officeDocument/2006/relationships/slideLayout" Target="../slideLayouts/slideLayout39.xml"/><Relationship Id="rId4" Type="http://schemas.openxmlformats.org/officeDocument/2006/relationships/image" Target="../media/image102.png"/></Relationships>
</file>

<file path=ppt/slides/_rels/slide57.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56.xml"/><Relationship Id="rId1" Type="http://schemas.openxmlformats.org/officeDocument/2006/relationships/slideLayout" Target="../slideLayouts/slideLayout39.xml"/><Relationship Id="rId4" Type="http://schemas.openxmlformats.org/officeDocument/2006/relationships/image" Target="../media/image104.png"/></Relationships>
</file>

<file path=ppt/slides/_rels/slide5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57.xml"/><Relationship Id="rId1" Type="http://schemas.openxmlformats.org/officeDocument/2006/relationships/slideLayout" Target="../slideLayouts/slideLayout40.xml"/><Relationship Id="rId5" Type="http://schemas.openxmlformats.org/officeDocument/2006/relationships/image" Target="../media/image107.svg"/><Relationship Id="rId4" Type="http://schemas.openxmlformats.org/officeDocument/2006/relationships/image" Target="../media/image106.png"/></Relationships>
</file>

<file path=ppt/slides/_rels/slide5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58.xml"/><Relationship Id="rId1" Type="http://schemas.openxmlformats.org/officeDocument/2006/relationships/slideLayout" Target="../slideLayouts/slideLayout40.xml"/><Relationship Id="rId4" Type="http://schemas.openxmlformats.org/officeDocument/2006/relationships/image" Target="../media/image109.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0.jpe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4.png"/></Relationships>
</file>

<file path=ppt/slides/_rels/slide6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9.xml"/><Relationship Id="rId1" Type="http://schemas.openxmlformats.org/officeDocument/2006/relationships/slideLayout" Target="../slideLayouts/slideLayout39.xml"/><Relationship Id="rId4" Type="http://schemas.openxmlformats.org/officeDocument/2006/relationships/image" Target="../media/image111.png"/></Relationships>
</file>

<file path=ppt/slides/_rels/slide6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0.xml"/><Relationship Id="rId1" Type="http://schemas.openxmlformats.org/officeDocument/2006/relationships/slideLayout" Target="../slideLayouts/slideLayout39.xml"/><Relationship Id="rId4" Type="http://schemas.openxmlformats.org/officeDocument/2006/relationships/image" Target="../media/image113.png"/></Relationships>
</file>

<file path=ppt/slides/_rels/slide6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1.xml"/><Relationship Id="rId1" Type="http://schemas.openxmlformats.org/officeDocument/2006/relationships/slideLayout" Target="../slideLayouts/slideLayout40.xml"/><Relationship Id="rId5" Type="http://schemas.openxmlformats.org/officeDocument/2006/relationships/image" Target="../media/image115.png"/><Relationship Id="rId4" Type="http://schemas.openxmlformats.org/officeDocument/2006/relationships/hyperlink" Target="https://customers.microsoft.com/en-us/story/complex-networks-media-cognitive-services"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2.xml"/><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63.xml"/><Relationship Id="rId1" Type="http://schemas.openxmlformats.org/officeDocument/2006/relationships/slideLayout" Target="../slideLayouts/slideLayout39.xml"/><Relationship Id="rId4" Type="http://schemas.openxmlformats.org/officeDocument/2006/relationships/image" Target="../media/image116.png"/></Relationships>
</file>

<file path=ppt/slides/_rels/slide65.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notesSlide" Target="../notesSlides/notesSlide64.xml"/><Relationship Id="rId1" Type="http://schemas.openxmlformats.org/officeDocument/2006/relationships/slideLayout" Target="../slideLayouts/slideLayout39.xml"/><Relationship Id="rId4" Type="http://schemas.openxmlformats.org/officeDocument/2006/relationships/image" Target="../media/image119.png"/></Relationships>
</file>

<file path=ppt/slides/_rels/slide66.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65.xml"/><Relationship Id="rId1" Type="http://schemas.openxmlformats.org/officeDocument/2006/relationships/slideLayout" Target="../slideLayouts/slideLayout39.xml"/><Relationship Id="rId4" Type="http://schemas.openxmlformats.org/officeDocument/2006/relationships/image" Target="../media/image120.png"/></Relationships>
</file>

<file path=ppt/slides/_rels/slide67.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66.xml"/><Relationship Id="rId1" Type="http://schemas.openxmlformats.org/officeDocument/2006/relationships/slideLayout" Target="../slideLayouts/slideLayout39.xml"/><Relationship Id="rId4" Type="http://schemas.openxmlformats.org/officeDocument/2006/relationships/image" Target="../media/image122.png"/></Relationships>
</file>

<file path=ppt/slides/_rels/slide68.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67.xml"/><Relationship Id="rId1" Type="http://schemas.openxmlformats.org/officeDocument/2006/relationships/slideLayout" Target="../slideLayouts/slideLayout39.xml"/><Relationship Id="rId4" Type="http://schemas.openxmlformats.org/officeDocument/2006/relationships/image" Target="../media/image124.png"/></Relationships>
</file>

<file path=ppt/slides/_rels/slide69.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68.xml"/><Relationship Id="rId1" Type="http://schemas.openxmlformats.org/officeDocument/2006/relationships/slideLayout" Target="../slideLayouts/slideLayout39.xml"/><Relationship Id="rId4" Type="http://schemas.openxmlformats.org/officeDocument/2006/relationships/image" Target="../media/image125.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0.jpe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7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9.xml"/><Relationship Id="rId1" Type="http://schemas.openxmlformats.org/officeDocument/2006/relationships/slideLayout" Target="../slideLayouts/slideLayout39.xml"/><Relationship Id="rId5" Type="http://schemas.openxmlformats.org/officeDocument/2006/relationships/image" Target="../media/image128.png"/><Relationship Id="rId4" Type="http://schemas.openxmlformats.org/officeDocument/2006/relationships/image" Target="../media/image127.png"/></Relationships>
</file>

<file path=ppt/slides/_rels/slide71.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70.xml"/><Relationship Id="rId1" Type="http://schemas.openxmlformats.org/officeDocument/2006/relationships/slideLayout" Target="../slideLayouts/slideLayout40.xml"/><Relationship Id="rId6" Type="http://schemas.openxmlformats.org/officeDocument/2006/relationships/hyperlink" Target="http://microsoft.com/Cognitive" TargetMode="External"/><Relationship Id="rId5" Type="http://schemas.openxmlformats.org/officeDocument/2006/relationships/hyperlink" Target="http://azure.com/cognitive" TargetMode="External"/><Relationship Id="rId4" Type="http://schemas.openxmlformats.org/officeDocument/2006/relationships/hyperlink" Target="https://www.microsoft.com/en-us/server-cloud/cortana-analytics-suite/overview.aspx"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8" Type="http://schemas.openxmlformats.org/officeDocument/2006/relationships/hyperlink" Target="https://how-old.net/" TargetMode="External"/><Relationship Id="rId3" Type="http://schemas.openxmlformats.org/officeDocument/2006/relationships/hyperlink" Target="https://aka.ms/aicog" TargetMode="External"/><Relationship Id="rId7" Type="http://schemas.openxmlformats.org/officeDocument/2006/relationships/hyperlink" Target="https://aka.ms/face-py" TargetMode="External"/><Relationship Id="rId2" Type="http://schemas.openxmlformats.org/officeDocument/2006/relationships/notesSlide" Target="../notesSlides/notesSlide72.xml"/><Relationship Id="rId1" Type="http://schemas.openxmlformats.org/officeDocument/2006/relationships/slideLayout" Target="../slideLayouts/slideLayout43.xml"/><Relationship Id="rId6" Type="http://schemas.openxmlformats.org/officeDocument/2006/relationships/hyperlink" Target="https://aka.ms/face-jv" TargetMode="External"/><Relationship Id="rId11" Type="http://schemas.openxmlformats.org/officeDocument/2006/relationships/hyperlink" Target="https://aka.ms/tryvision" TargetMode="External"/><Relationship Id="rId5" Type="http://schemas.openxmlformats.org/officeDocument/2006/relationships/hyperlink" Target="https://aka.ms/face-cs" TargetMode="External"/><Relationship Id="rId10" Type="http://schemas.openxmlformats.org/officeDocument/2006/relationships/hyperlink" Target="https://www.what-dog.net/" TargetMode="External"/><Relationship Id="rId4" Type="http://schemas.openxmlformats.org/officeDocument/2006/relationships/hyperlink" Target="https://aka.ms/cogsamples" TargetMode="External"/><Relationship Id="rId9" Type="http://schemas.openxmlformats.org/officeDocument/2006/relationships/hyperlink" Target="https://www.celebslike.me/"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3" Type="http://schemas.openxmlformats.org/officeDocument/2006/relationships/image" Target="../media/image22.jpg"/><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png"/><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slideLayout" Target="../slideLayouts/slideLayout37.xml"/><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2.emf"/><Relationship Id="rId11" Type="http://schemas.openxmlformats.org/officeDocument/2006/relationships/image" Target="../media/image37.png"/><Relationship Id="rId5" Type="http://schemas.openxmlformats.org/officeDocument/2006/relationships/oleObject" Target="../embeddings/oleObject1.bin"/><Relationship Id="rId10" Type="http://schemas.openxmlformats.org/officeDocument/2006/relationships/image" Target="../media/image36.png"/><Relationship Id="rId4" Type="http://schemas.openxmlformats.org/officeDocument/2006/relationships/notesSlide" Target="../notesSlides/notesSlide8.xml"/><Relationship Id="rId9" Type="http://schemas.openxmlformats.org/officeDocument/2006/relationships/image" Target="../media/image35.png"/><Relationship Id="rId1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5565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2905815" y="5168656"/>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5730864" y="5168610"/>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 Service</a:t>
            </a:r>
          </a:p>
        </p:txBody>
      </p:sp>
      <p:sp>
        <p:nvSpPr>
          <p:cNvPr id="59" name="TextBox 58"/>
          <p:cNvSpPr txBox="1"/>
          <p:nvPr/>
        </p:nvSpPr>
        <p:spPr>
          <a:xfrm>
            <a:off x="8883728" y="5168610"/>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8812744" y="5551712"/>
            <a:ext cx="2318424" cy="479807"/>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5625194" y="5551713"/>
            <a:ext cx="2829845" cy="673551"/>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2567488" y="5551713"/>
            <a:ext cx="2891865" cy="673551"/>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447696" y="2944925"/>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 API</a:t>
            </a:r>
          </a:p>
        </p:txBody>
      </p:sp>
      <p:sp>
        <p:nvSpPr>
          <p:cNvPr id="20" name="Rectangle 19"/>
          <p:cNvSpPr/>
          <p:nvPr/>
        </p:nvSpPr>
        <p:spPr>
          <a:xfrm>
            <a:off x="1507411" y="3312239"/>
            <a:ext cx="2279623"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4464032"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 API</a:t>
            </a:r>
          </a:p>
        </p:txBody>
      </p:sp>
      <p:sp>
        <p:nvSpPr>
          <p:cNvPr id="136" name="Rectangle 135"/>
          <p:cNvSpPr/>
          <p:nvPr/>
        </p:nvSpPr>
        <p:spPr>
          <a:xfrm>
            <a:off x="4170751" y="3312239"/>
            <a:ext cx="2763014" cy="470442"/>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and tag faces in photos</a:t>
            </a:r>
          </a:p>
        </p:txBody>
      </p:sp>
      <p:sp>
        <p:nvSpPr>
          <p:cNvPr id="138" name="TextBox 137"/>
          <p:cNvSpPr txBox="1"/>
          <p:nvPr/>
        </p:nvSpPr>
        <p:spPr>
          <a:xfrm>
            <a:off x="7361630"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Emotion API</a:t>
            </a:r>
          </a:p>
        </p:txBody>
      </p:sp>
      <p:sp>
        <p:nvSpPr>
          <p:cNvPr id="139" name="Rectangle 138"/>
          <p:cNvSpPr/>
          <p:nvPr/>
        </p:nvSpPr>
        <p:spPr>
          <a:xfrm>
            <a:off x="7273080" y="3312239"/>
            <a:ext cx="2353552"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ersonalize experiences with emotion recognit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291750" y="2105459"/>
            <a:ext cx="707731" cy="497913"/>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5222401" y="2022970"/>
            <a:ext cx="650201" cy="651219"/>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15">
            <a:extLst>
              <a:ext uri="{FF2B5EF4-FFF2-40B4-BE49-F238E27FC236}">
                <a16:creationId xmlns:a16="http://schemas.microsoft.com/office/drawing/2014/main" id="{2F0F0526-F76B-4A44-9EC9-FF350CB6C1EC}"/>
              </a:ext>
            </a:extLst>
          </p:cNvPr>
          <p:cNvGrpSpPr>
            <a:grpSpLocks noChangeAspect="1"/>
          </p:cNvGrpSpPr>
          <p:nvPr/>
        </p:nvGrpSpPr>
        <p:grpSpPr bwMode="auto">
          <a:xfrm>
            <a:off x="8135526" y="2029277"/>
            <a:ext cx="620649" cy="621405"/>
            <a:chOff x="1" y="1"/>
            <a:chExt cx="2463" cy="2466"/>
          </a:xfrm>
          <a:solidFill>
            <a:srgbClr val="047CDA"/>
          </a:solidFill>
        </p:grpSpPr>
        <p:sp>
          <p:nvSpPr>
            <p:cNvPr id="74" name="Freeform 16">
              <a:extLst>
                <a:ext uri="{FF2B5EF4-FFF2-40B4-BE49-F238E27FC236}">
                  <a16:creationId xmlns:a16="http://schemas.microsoft.com/office/drawing/2014/main" id="{4B18C233-4119-4B24-B44E-21C521CE4FA7}"/>
                </a:ext>
              </a:extLst>
            </p:cNvPr>
            <p:cNvSpPr>
              <a:spLocks noEditPoints="1"/>
            </p:cNvSpPr>
            <p:nvPr/>
          </p:nvSpPr>
          <p:spPr bwMode="auto">
            <a:xfrm>
              <a:off x="1" y="1"/>
              <a:ext cx="2463" cy="2466"/>
            </a:xfrm>
            <a:custGeom>
              <a:avLst/>
              <a:gdLst>
                <a:gd name="T0" fmla="*/ 592 w 1184"/>
                <a:gd name="T1" fmla="*/ 1092 h 1183"/>
                <a:gd name="T2" fmla="*/ 91 w 1184"/>
                <a:gd name="T3" fmla="*/ 591 h 1183"/>
                <a:gd name="T4" fmla="*/ 592 w 1184"/>
                <a:gd name="T5" fmla="*/ 91 h 1183"/>
                <a:gd name="T6" fmla="*/ 1093 w 1184"/>
                <a:gd name="T7" fmla="*/ 591 h 1183"/>
                <a:gd name="T8" fmla="*/ 592 w 1184"/>
                <a:gd name="T9" fmla="*/ 1092 h 1183"/>
                <a:gd name="T10" fmla="*/ 592 w 1184"/>
                <a:gd name="T11" fmla="*/ 0 h 1183"/>
                <a:gd name="T12" fmla="*/ 0 w 1184"/>
                <a:gd name="T13" fmla="*/ 591 h 1183"/>
                <a:gd name="T14" fmla="*/ 592 w 1184"/>
                <a:gd name="T15" fmla="*/ 1183 h 1183"/>
                <a:gd name="T16" fmla="*/ 1184 w 1184"/>
                <a:gd name="T17" fmla="*/ 591 h 1183"/>
                <a:gd name="T18" fmla="*/ 592 w 1184"/>
                <a:gd name="T19"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1183">
                  <a:moveTo>
                    <a:pt x="592" y="1092"/>
                  </a:moveTo>
                  <a:cubicBezTo>
                    <a:pt x="316" y="1092"/>
                    <a:pt x="91" y="868"/>
                    <a:pt x="91" y="591"/>
                  </a:cubicBezTo>
                  <a:cubicBezTo>
                    <a:pt x="91" y="315"/>
                    <a:pt x="316" y="91"/>
                    <a:pt x="592" y="91"/>
                  </a:cubicBezTo>
                  <a:cubicBezTo>
                    <a:pt x="868" y="91"/>
                    <a:pt x="1093" y="315"/>
                    <a:pt x="1093" y="591"/>
                  </a:cubicBezTo>
                  <a:cubicBezTo>
                    <a:pt x="1093" y="868"/>
                    <a:pt x="868" y="1092"/>
                    <a:pt x="592" y="1092"/>
                  </a:cubicBezTo>
                  <a:moveTo>
                    <a:pt x="592" y="0"/>
                  </a:moveTo>
                  <a:cubicBezTo>
                    <a:pt x="265" y="0"/>
                    <a:pt x="0" y="264"/>
                    <a:pt x="0" y="591"/>
                  </a:cubicBezTo>
                  <a:cubicBezTo>
                    <a:pt x="0" y="918"/>
                    <a:pt x="265" y="1183"/>
                    <a:pt x="592" y="1183"/>
                  </a:cubicBezTo>
                  <a:cubicBezTo>
                    <a:pt x="919" y="1183"/>
                    <a:pt x="1184" y="918"/>
                    <a:pt x="1184" y="591"/>
                  </a:cubicBezTo>
                  <a:cubicBezTo>
                    <a:pt x="1184" y="264"/>
                    <a:pt x="919" y="0"/>
                    <a:pt x="5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7">
              <a:extLst>
                <a:ext uri="{FF2B5EF4-FFF2-40B4-BE49-F238E27FC236}">
                  <a16:creationId xmlns:a16="http://schemas.microsoft.com/office/drawing/2014/main" id="{9F495FE9-112D-4660-AD98-A215786628BD}"/>
                </a:ext>
              </a:extLst>
            </p:cNvPr>
            <p:cNvSpPr>
              <a:spLocks noEditPoints="1"/>
            </p:cNvSpPr>
            <p:nvPr/>
          </p:nvSpPr>
          <p:spPr bwMode="auto">
            <a:xfrm>
              <a:off x="617" y="760"/>
              <a:ext cx="1231" cy="1138"/>
            </a:xfrm>
            <a:custGeom>
              <a:avLst/>
              <a:gdLst>
                <a:gd name="T0" fmla="*/ 296 w 592"/>
                <a:gd name="T1" fmla="*/ 318 h 546"/>
                <a:gd name="T2" fmla="*/ 410 w 592"/>
                <a:gd name="T3" fmla="*/ 432 h 546"/>
                <a:gd name="T4" fmla="*/ 296 w 592"/>
                <a:gd name="T5" fmla="*/ 546 h 546"/>
                <a:gd name="T6" fmla="*/ 182 w 592"/>
                <a:gd name="T7" fmla="*/ 432 h 546"/>
                <a:gd name="T8" fmla="*/ 296 w 592"/>
                <a:gd name="T9" fmla="*/ 318 h 546"/>
                <a:gd name="T10" fmla="*/ 80 w 592"/>
                <a:gd name="T11" fmla="*/ 0 h 546"/>
                <a:gd name="T12" fmla="*/ 159 w 592"/>
                <a:gd name="T13" fmla="*/ 79 h 546"/>
                <a:gd name="T14" fmla="*/ 80 w 592"/>
                <a:gd name="T15" fmla="*/ 159 h 546"/>
                <a:gd name="T16" fmla="*/ 0 w 592"/>
                <a:gd name="T17" fmla="*/ 79 h 546"/>
                <a:gd name="T18" fmla="*/ 80 w 592"/>
                <a:gd name="T19" fmla="*/ 0 h 546"/>
                <a:gd name="T20" fmla="*/ 512 w 592"/>
                <a:gd name="T21" fmla="*/ 0 h 546"/>
                <a:gd name="T22" fmla="*/ 592 w 592"/>
                <a:gd name="T23" fmla="*/ 79 h 546"/>
                <a:gd name="T24" fmla="*/ 512 w 592"/>
                <a:gd name="T25" fmla="*/ 159 h 546"/>
                <a:gd name="T26" fmla="*/ 433 w 592"/>
                <a:gd name="T27" fmla="*/ 79 h 546"/>
                <a:gd name="T28" fmla="*/ 512 w 592"/>
                <a:gd name="T29"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546">
                  <a:moveTo>
                    <a:pt x="296" y="318"/>
                  </a:moveTo>
                  <a:cubicBezTo>
                    <a:pt x="359" y="318"/>
                    <a:pt x="410" y="369"/>
                    <a:pt x="410" y="432"/>
                  </a:cubicBezTo>
                  <a:cubicBezTo>
                    <a:pt x="410" y="495"/>
                    <a:pt x="359" y="546"/>
                    <a:pt x="296" y="546"/>
                  </a:cubicBezTo>
                  <a:cubicBezTo>
                    <a:pt x="233" y="546"/>
                    <a:pt x="182" y="495"/>
                    <a:pt x="182" y="432"/>
                  </a:cubicBezTo>
                  <a:cubicBezTo>
                    <a:pt x="182" y="369"/>
                    <a:pt x="233" y="318"/>
                    <a:pt x="296" y="318"/>
                  </a:cubicBezTo>
                  <a:close/>
                  <a:moveTo>
                    <a:pt x="80" y="0"/>
                  </a:moveTo>
                  <a:cubicBezTo>
                    <a:pt x="124" y="0"/>
                    <a:pt x="159" y="35"/>
                    <a:pt x="159" y="79"/>
                  </a:cubicBezTo>
                  <a:cubicBezTo>
                    <a:pt x="159" y="123"/>
                    <a:pt x="124" y="159"/>
                    <a:pt x="80" y="159"/>
                  </a:cubicBezTo>
                  <a:cubicBezTo>
                    <a:pt x="36" y="159"/>
                    <a:pt x="0" y="123"/>
                    <a:pt x="0" y="79"/>
                  </a:cubicBezTo>
                  <a:cubicBezTo>
                    <a:pt x="0" y="35"/>
                    <a:pt x="36" y="0"/>
                    <a:pt x="80" y="0"/>
                  </a:cubicBezTo>
                  <a:close/>
                  <a:moveTo>
                    <a:pt x="512" y="0"/>
                  </a:moveTo>
                  <a:cubicBezTo>
                    <a:pt x="556" y="0"/>
                    <a:pt x="592" y="35"/>
                    <a:pt x="592" y="79"/>
                  </a:cubicBezTo>
                  <a:cubicBezTo>
                    <a:pt x="592" y="123"/>
                    <a:pt x="556" y="159"/>
                    <a:pt x="512" y="159"/>
                  </a:cubicBezTo>
                  <a:cubicBezTo>
                    <a:pt x="468" y="159"/>
                    <a:pt x="433" y="123"/>
                    <a:pt x="433" y="79"/>
                  </a:cubicBezTo>
                  <a:cubicBezTo>
                    <a:pt x="433" y="35"/>
                    <a:pt x="468" y="0"/>
                    <a:pt x="5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9721516" y="4351143"/>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6692274" y="4451742"/>
            <a:ext cx="706678" cy="497172"/>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3709069" y="4383510"/>
            <a:ext cx="607377" cy="629817"/>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 calcmode="lin" valueType="num">
                                      <p:cBhvr>
                                        <p:cTn id="21" dur="500" fill="hold"/>
                                        <p:tgtEl>
                                          <p:spTgt spid="68"/>
                                        </p:tgtEl>
                                        <p:attrNameLst>
                                          <p:attrName>ppt_w</p:attrName>
                                        </p:attrNameLst>
                                      </p:cBhvr>
                                      <p:tavLst>
                                        <p:tav tm="0">
                                          <p:val>
                                            <p:fltVal val="0"/>
                                          </p:val>
                                        </p:tav>
                                        <p:tav tm="100000">
                                          <p:val>
                                            <p:strVal val="#ppt_w"/>
                                          </p:val>
                                        </p:tav>
                                      </p:tavLst>
                                    </p:anim>
                                    <p:anim calcmode="lin" valueType="num">
                                      <p:cBhvr>
                                        <p:cTn id="22" dur="500" fill="hold"/>
                                        <p:tgtEl>
                                          <p:spTgt spid="68"/>
                                        </p:tgtEl>
                                        <p:attrNameLst>
                                          <p:attrName>ppt_h</p:attrName>
                                        </p:attrNameLst>
                                      </p:cBhvr>
                                      <p:tavLst>
                                        <p:tav tm="0">
                                          <p:val>
                                            <p:fltVal val="0"/>
                                          </p:val>
                                        </p:tav>
                                        <p:tav tm="100000">
                                          <p:val>
                                            <p:strVal val="#ppt_h"/>
                                          </p:val>
                                        </p:tav>
                                      </p:tavLst>
                                    </p:anim>
                                    <p:animEffect transition="in" filter="fade">
                                      <p:cBhvr>
                                        <p:cTn id="23" dur="500"/>
                                        <p:tgtEl>
                                          <p:spTgt spid="68"/>
                                        </p:tgtEl>
                                      </p:cBhvr>
                                    </p:animEffect>
                                  </p:childTnLst>
                                </p:cTn>
                              </p:par>
                              <p:par>
                                <p:cTn id="24" presetID="53" presetClass="entr" presetSubtype="16" fill="hold" nodeType="withEffect">
                                  <p:stCondLst>
                                    <p:cond delay="0"/>
                                  </p:stCondLst>
                                  <p:childTnLst>
                                    <p:set>
                                      <p:cBhvr>
                                        <p:cTn id="25" dur="1" fill="hold">
                                          <p:stCondLst>
                                            <p:cond delay="0"/>
                                          </p:stCondLst>
                                        </p:cTn>
                                        <p:tgtEl>
                                          <p:spTgt spid="73"/>
                                        </p:tgtEl>
                                        <p:attrNameLst>
                                          <p:attrName>style.visibility</p:attrName>
                                        </p:attrNameLst>
                                      </p:cBhvr>
                                      <p:to>
                                        <p:strVal val="visible"/>
                                      </p:to>
                                    </p:set>
                                    <p:anim calcmode="lin" valueType="num">
                                      <p:cBhvr>
                                        <p:cTn id="26" dur="500" fill="hold"/>
                                        <p:tgtEl>
                                          <p:spTgt spid="73"/>
                                        </p:tgtEl>
                                        <p:attrNameLst>
                                          <p:attrName>ppt_w</p:attrName>
                                        </p:attrNameLst>
                                      </p:cBhvr>
                                      <p:tavLst>
                                        <p:tav tm="0">
                                          <p:val>
                                            <p:fltVal val="0"/>
                                          </p:val>
                                        </p:tav>
                                        <p:tav tm="100000">
                                          <p:val>
                                            <p:strVal val="#ppt_w"/>
                                          </p:val>
                                        </p:tav>
                                      </p:tavLst>
                                    </p:anim>
                                    <p:anim calcmode="lin" valueType="num">
                                      <p:cBhvr>
                                        <p:cTn id="27" dur="500" fill="hold"/>
                                        <p:tgtEl>
                                          <p:spTgt spid="73"/>
                                        </p:tgtEl>
                                        <p:attrNameLst>
                                          <p:attrName>ppt_h</p:attrName>
                                        </p:attrNameLst>
                                      </p:cBhvr>
                                      <p:tavLst>
                                        <p:tav tm="0">
                                          <p:val>
                                            <p:fltVal val="0"/>
                                          </p:val>
                                        </p:tav>
                                        <p:tav tm="100000">
                                          <p:val>
                                            <p:strVal val="#ppt_h"/>
                                          </p:val>
                                        </p:tav>
                                      </p:tavLst>
                                    </p:anim>
                                    <p:animEffect transition="in" filter="fade">
                                      <p:cBhvr>
                                        <p:cTn id="28" dur="500"/>
                                        <p:tgtEl>
                                          <p:spTgt spid="73"/>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 calcmode="lin" valueType="num">
                                      <p:cBhvr>
                                        <p:cTn id="31" dur="500" fill="hold"/>
                                        <p:tgtEl>
                                          <p:spTgt spid="77"/>
                                        </p:tgtEl>
                                        <p:attrNameLst>
                                          <p:attrName>ppt_w</p:attrName>
                                        </p:attrNameLst>
                                      </p:cBhvr>
                                      <p:tavLst>
                                        <p:tav tm="0">
                                          <p:val>
                                            <p:fltVal val="0"/>
                                          </p:val>
                                        </p:tav>
                                        <p:tav tm="100000">
                                          <p:val>
                                            <p:strVal val="#ppt_w"/>
                                          </p:val>
                                        </p:tav>
                                      </p:tavLst>
                                    </p:anim>
                                    <p:anim calcmode="lin" valueType="num">
                                      <p:cBhvr>
                                        <p:cTn id="32" dur="500" fill="hold"/>
                                        <p:tgtEl>
                                          <p:spTgt spid="77"/>
                                        </p:tgtEl>
                                        <p:attrNameLst>
                                          <p:attrName>ppt_h</p:attrName>
                                        </p:attrNameLst>
                                      </p:cBhvr>
                                      <p:tavLst>
                                        <p:tav tm="0">
                                          <p:val>
                                            <p:fltVal val="0"/>
                                          </p:val>
                                        </p:tav>
                                        <p:tav tm="100000">
                                          <p:val>
                                            <p:strVal val="#ppt_h"/>
                                          </p:val>
                                        </p:tav>
                                      </p:tavLst>
                                    </p:anim>
                                    <p:animEffect transition="in" filter="fade">
                                      <p:cBhvr>
                                        <p:cTn id="33" dur="500"/>
                                        <p:tgtEl>
                                          <p:spTgt spid="77"/>
                                        </p:tgtEl>
                                      </p:cBhvr>
                                    </p:animEffect>
                                  </p:childTnLst>
                                </p:cTn>
                              </p:par>
                              <p:par>
                                <p:cTn id="34" presetID="53" presetClass="entr" presetSubtype="16" fill="hold" nodeType="withEffect">
                                  <p:stCondLst>
                                    <p:cond delay="0"/>
                                  </p:stCondLst>
                                  <p:childTnLst>
                                    <p:set>
                                      <p:cBhvr>
                                        <p:cTn id="35" dur="1" fill="hold">
                                          <p:stCondLst>
                                            <p:cond delay="0"/>
                                          </p:stCondLst>
                                        </p:cTn>
                                        <p:tgtEl>
                                          <p:spTgt spid="78"/>
                                        </p:tgtEl>
                                        <p:attrNameLst>
                                          <p:attrName>style.visibility</p:attrName>
                                        </p:attrNameLst>
                                      </p:cBhvr>
                                      <p:to>
                                        <p:strVal val="visible"/>
                                      </p:to>
                                    </p:set>
                                    <p:anim calcmode="lin" valueType="num">
                                      <p:cBhvr>
                                        <p:cTn id="36" dur="500" fill="hold"/>
                                        <p:tgtEl>
                                          <p:spTgt spid="78"/>
                                        </p:tgtEl>
                                        <p:attrNameLst>
                                          <p:attrName>ppt_w</p:attrName>
                                        </p:attrNameLst>
                                      </p:cBhvr>
                                      <p:tavLst>
                                        <p:tav tm="0">
                                          <p:val>
                                            <p:fltVal val="0"/>
                                          </p:val>
                                        </p:tav>
                                        <p:tav tm="100000">
                                          <p:val>
                                            <p:strVal val="#ppt_w"/>
                                          </p:val>
                                        </p:tav>
                                      </p:tavLst>
                                    </p:anim>
                                    <p:anim calcmode="lin" valueType="num">
                                      <p:cBhvr>
                                        <p:cTn id="37" dur="500" fill="hold"/>
                                        <p:tgtEl>
                                          <p:spTgt spid="78"/>
                                        </p:tgtEl>
                                        <p:attrNameLst>
                                          <p:attrName>ppt_h</p:attrName>
                                        </p:attrNameLst>
                                      </p:cBhvr>
                                      <p:tavLst>
                                        <p:tav tm="0">
                                          <p:val>
                                            <p:fltVal val="0"/>
                                          </p:val>
                                        </p:tav>
                                        <p:tav tm="100000">
                                          <p:val>
                                            <p:strVal val="#ppt_h"/>
                                          </p:val>
                                        </p:tav>
                                      </p:tavLst>
                                    </p:anim>
                                    <p:animEffect transition="in" filter="fade">
                                      <p:cBhvr>
                                        <p:cTn id="38" dur="500"/>
                                        <p:tgtEl>
                                          <p:spTgt spid="78"/>
                                        </p:tgtEl>
                                      </p:cBhvr>
                                    </p:animEffect>
                                  </p:childTnLst>
                                </p:cTn>
                              </p:par>
                              <p:par>
                                <p:cTn id="39" presetID="53" presetClass="entr" presetSubtype="16" fill="hold" nodeType="withEffect">
                                  <p:stCondLst>
                                    <p:cond delay="0"/>
                                  </p:stCondLst>
                                  <p:childTnLst>
                                    <p:set>
                                      <p:cBhvr>
                                        <p:cTn id="40" dur="1" fill="hold">
                                          <p:stCondLst>
                                            <p:cond delay="0"/>
                                          </p:stCondLst>
                                        </p:cTn>
                                        <p:tgtEl>
                                          <p:spTgt spid="81"/>
                                        </p:tgtEl>
                                        <p:attrNameLst>
                                          <p:attrName>style.visibility</p:attrName>
                                        </p:attrNameLst>
                                      </p:cBhvr>
                                      <p:to>
                                        <p:strVal val="visible"/>
                                      </p:to>
                                    </p:set>
                                    <p:anim calcmode="lin" valueType="num">
                                      <p:cBhvr>
                                        <p:cTn id="41" dur="500" fill="hold"/>
                                        <p:tgtEl>
                                          <p:spTgt spid="81"/>
                                        </p:tgtEl>
                                        <p:attrNameLst>
                                          <p:attrName>ppt_w</p:attrName>
                                        </p:attrNameLst>
                                      </p:cBhvr>
                                      <p:tavLst>
                                        <p:tav tm="0">
                                          <p:val>
                                            <p:fltVal val="0"/>
                                          </p:val>
                                        </p:tav>
                                        <p:tav tm="100000">
                                          <p:val>
                                            <p:strVal val="#ppt_w"/>
                                          </p:val>
                                        </p:tav>
                                      </p:tavLst>
                                    </p:anim>
                                    <p:anim calcmode="lin" valueType="num">
                                      <p:cBhvr>
                                        <p:cTn id="42" dur="500" fill="hold"/>
                                        <p:tgtEl>
                                          <p:spTgt spid="81"/>
                                        </p:tgtEl>
                                        <p:attrNameLst>
                                          <p:attrName>ppt_h</p:attrName>
                                        </p:attrNameLst>
                                      </p:cBhvr>
                                      <p:tavLst>
                                        <p:tav tm="0">
                                          <p:val>
                                            <p:fltVal val="0"/>
                                          </p:val>
                                        </p:tav>
                                        <p:tav tm="100000">
                                          <p:val>
                                            <p:strVal val="#ppt_h"/>
                                          </p:val>
                                        </p:tav>
                                      </p:tavLst>
                                    </p:anim>
                                    <p:animEffect transition="in" filter="fade">
                                      <p:cBhvr>
                                        <p:cTn id="43" dur="500"/>
                                        <p:tgtEl>
                                          <p:spTgt spid="81"/>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500"/>
                                        <p:tgtEl>
                                          <p:spTgt spid="1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9"/>
                                        </p:tgtEl>
                                        <p:attrNameLst>
                                          <p:attrName>style.visibility</p:attrName>
                                        </p:attrNameLst>
                                      </p:cBhvr>
                                      <p:to>
                                        <p:strVal val="visible"/>
                                      </p:to>
                                    </p:set>
                                    <p:animEffect transition="in" filter="fade">
                                      <p:cBhvr>
                                        <p:cTn id="53" dur="500"/>
                                        <p:tgtEl>
                                          <p:spTgt spid="1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5"/>
                                        </p:tgtEl>
                                        <p:attrNameLst>
                                          <p:attrName>style.visibility</p:attrName>
                                        </p:attrNameLst>
                                      </p:cBhvr>
                                      <p:to>
                                        <p:strVal val="visible"/>
                                      </p:to>
                                    </p:set>
                                    <p:animEffect transition="in" filter="fade">
                                      <p:cBhvr>
                                        <p:cTn id="59" dur="500"/>
                                        <p:tgtEl>
                                          <p:spTgt spid="13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fade">
                                      <p:cBhvr>
                                        <p:cTn id="8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7" grpId="0"/>
      <p:bldP spid="58" grpId="0"/>
      <p:bldP spid="59" grpId="0"/>
      <p:bldP spid="4" grpId="0"/>
      <p:bldP spid="29" grpId="0"/>
      <p:bldP spid="30" grpId="0"/>
      <p:bldP spid="127" grpId="0"/>
      <p:bldP spid="20" grpId="0"/>
      <p:bldP spid="135" grpId="0"/>
      <p:bldP spid="136" grpId="0"/>
      <p:bldP spid="138" grpId="0"/>
      <p:bldP spid="139" grpId="0"/>
      <p:bldP spid="7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peech</a:t>
            </a:r>
          </a:p>
        </p:txBody>
      </p:sp>
      <p:sp>
        <p:nvSpPr>
          <p:cNvPr id="24" name="TextBox 23"/>
          <p:cNvSpPr txBox="1"/>
          <p:nvPr/>
        </p:nvSpPr>
        <p:spPr>
          <a:xfrm>
            <a:off x="1014313"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992918" y="4340631"/>
            <a:ext cx="2854559"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27" name="TextBox 26"/>
          <p:cNvSpPr txBox="1"/>
          <p:nvPr/>
        </p:nvSpPr>
        <p:spPr>
          <a:xfrm>
            <a:off x="4549529" y="3932493"/>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4817925" y="4340631"/>
            <a:ext cx="2556155"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the abilit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o know who's talking</a:t>
            </a:r>
          </a:p>
        </p:txBody>
      </p:sp>
      <p:sp>
        <p:nvSpPr>
          <p:cNvPr id="30" name="TextBox 29"/>
          <p:cNvSpPr txBox="1"/>
          <p:nvPr/>
        </p:nvSpPr>
        <p:spPr>
          <a:xfrm>
            <a:off x="8365920"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8493729" y="4340631"/>
            <a:ext cx="2556155"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ine-tune speech recognition for anyone, anywhere</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6B6C0DF1-7074-4885-9345-271A1F66B18D}"/>
              </a:ext>
            </a:extLst>
          </p:cNvPr>
          <p:cNvGrpSpPr>
            <a:grpSpLocks noChangeAspect="1"/>
          </p:cNvGrpSpPr>
          <p:nvPr/>
        </p:nvGrpSpPr>
        <p:grpSpPr bwMode="auto">
          <a:xfrm>
            <a:off x="2098535" y="3043989"/>
            <a:ext cx="668857" cy="572385"/>
            <a:chOff x="1" y="3"/>
            <a:chExt cx="2697" cy="2308"/>
          </a:xfrm>
          <a:solidFill>
            <a:srgbClr val="047CDA"/>
          </a:solidFill>
        </p:grpSpPr>
        <p:sp>
          <p:nvSpPr>
            <p:cNvPr id="3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5792812" y="3053716"/>
            <a:ext cx="632308" cy="560676"/>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9406267" y="3016699"/>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864" y="254613"/>
            <a:ext cx="1188839" cy="956984"/>
            <a:chOff x="864" y="254613"/>
            <a:chExt cx="1188839" cy="956984"/>
          </a:xfrm>
        </p:grpSpPr>
        <p:sp>
          <p:nvSpPr>
            <p:cNvPr id="34" name="Rectangle 33"/>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0-#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p:cTn id="16" dur="500" fill="hold"/>
                                        <p:tgtEl>
                                          <p:spTgt spid="29"/>
                                        </p:tgtEl>
                                        <p:attrNameLst>
                                          <p:attrName>ppt_w</p:attrName>
                                        </p:attrNameLst>
                                      </p:cBhvr>
                                      <p:tavLst>
                                        <p:tav tm="0">
                                          <p:val>
                                            <p:fltVal val="0"/>
                                          </p:val>
                                        </p:tav>
                                        <p:tav tm="100000">
                                          <p:val>
                                            <p:strVal val="#ppt_w"/>
                                          </p:val>
                                        </p:tav>
                                      </p:tavLst>
                                    </p:anim>
                                    <p:anim calcmode="lin" valueType="num">
                                      <p:cBhvr>
                                        <p:cTn id="17" dur="500" fill="hold"/>
                                        <p:tgtEl>
                                          <p:spTgt spid="29"/>
                                        </p:tgtEl>
                                        <p:attrNameLst>
                                          <p:attrName>ppt_h</p:attrName>
                                        </p:attrNameLst>
                                      </p:cBhvr>
                                      <p:tavLst>
                                        <p:tav tm="0">
                                          <p:val>
                                            <p:fltVal val="0"/>
                                          </p:val>
                                        </p:tav>
                                        <p:tav tm="100000">
                                          <p:val>
                                            <p:strVal val="#ppt_h"/>
                                          </p:val>
                                        </p:tav>
                                      </p:tavLst>
                                    </p:anim>
                                    <p:animEffect transition="in" filter="fade">
                                      <p:cBhvr>
                                        <p:cTn id="18" dur="500"/>
                                        <p:tgtEl>
                                          <p:spTgt spid="29"/>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500" fill="hold"/>
                                        <p:tgtEl>
                                          <p:spTgt spid="35"/>
                                        </p:tgtEl>
                                        <p:attrNameLst>
                                          <p:attrName>ppt_w</p:attrName>
                                        </p:attrNameLst>
                                      </p:cBhvr>
                                      <p:tavLst>
                                        <p:tav tm="0">
                                          <p:val>
                                            <p:fltVal val="0"/>
                                          </p:val>
                                        </p:tav>
                                        <p:tav tm="100000">
                                          <p:val>
                                            <p:strVal val="#ppt_w"/>
                                          </p:val>
                                        </p:tav>
                                      </p:tavLst>
                                    </p:anim>
                                    <p:anim calcmode="lin" valueType="num">
                                      <p:cBhvr>
                                        <p:cTn id="22" dur="500" fill="hold"/>
                                        <p:tgtEl>
                                          <p:spTgt spid="35"/>
                                        </p:tgtEl>
                                        <p:attrNameLst>
                                          <p:attrName>ppt_h</p:attrName>
                                        </p:attrNameLst>
                                      </p:cBhvr>
                                      <p:tavLst>
                                        <p:tav tm="0">
                                          <p:val>
                                            <p:fltVal val="0"/>
                                          </p:val>
                                        </p:tav>
                                        <p:tav tm="100000">
                                          <p:val>
                                            <p:strVal val="#ppt_h"/>
                                          </p:val>
                                        </p:tav>
                                      </p:tavLst>
                                    </p:anim>
                                    <p:animEffect transition="in" filter="fade">
                                      <p:cBhvr>
                                        <p:cTn id="23" dur="500"/>
                                        <p:tgtEl>
                                          <p:spTgt spid="35"/>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fltVal val="0"/>
                                          </p:val>
                                        </p:tav>
                                        <p:tav tm="100000">
                                          <p:val>
                                            <p:strVal val="#ppt_w"/>
                                          </p:val>
                                        </p:tav>
                                      </p:tavLst>
                                    </p:anim>
                                    <p:anim calcmode="lin" valueType="num">
                                      <p:cBhvr>
                                        <p:cTn id="27" dur="500" fill="hold"/>
                                        <p:tgtEl>
                                          <p:spTgt spid="36"/>
                                        </p:tgtEl>
                                        <p:attrNameLst>
                                          <p:attrName>ppt_h</p:attrName>
                                        </p:attrNameLst>
                                      </p:cBhvr>
                                      <p:tavLst>
                                        <p:tav tm="0">
                                          <p:val>
                                            <p:fltVal val="0"/>
                                          </p:val>
                                        </p:tav>
                                        <p:tav tm="100000">
                                          <p:val>
                                            <p:strVal val="#ppt_h"/>
                                          </p:val>
                                        </p:tav>
                                      </p:tavLst>
                                    </p:anim>
                                    <p:animEffect transition="in" filter="fade">
                                      <p:cBhvr>
                                        <p:cTn id="28" dur="500"/>
                                        <p:tgtEl>
                                          <p:spTgt spid="36"/>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4" grpId="0"/>
      <p:bldP spid="25" grpId="0"/>
      <p:bldP spid="27" grpId="0"/>
      <p:bldP spid="28" grpId="0"/>
      <p:bldP spid="30" grpId="0"/>
      <p:bldP spid="31" grpId="0"/>
      <p:bldP spid="35" grpId="0" animBg="1"/>
      <p:bldP spid="3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102" name="TextBox 101">
            <a:hlinkClick r:id="rId3" action="ppaction://hlinksldjump"/>
            <a:extLst>
              <a:ext uri="{FF2B5EF4-FFF2-40B4-BE49-F238E27FC236}">
                <a16:creationId xmlns:a16="http://schemas.microsoft.com/office/drawing/2014/main" id="{845C3895-9F7E-42CF-964F-0F9589A45751}"/>
              </a:ext>
            </a:extLst>
          </p:cNvPr>
          <p:cNvSpPr txBox="1"/>
          <p:nvPr/>
        </p:nvSpPr>
        <p:spPr>
          <a:xfrm>
            <a:off x="4826805" y="519103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 API</a:t>
            </a:r>
          </a:p>
        </p:txBody>
      </p:sp>
      <p:sp>
        <p:nvSpPr>
          <p:cNvPr id="103" name="Rectangle 102">
            <a:extLst>
              <a:ext uri="{FF2B5EF4-FFF2-40B4-BE49-F238E27FC236}">
                <a16:creationId xmlns:a16="http://schemas.microsoft.com/office/drawing/2014/main" id="{354E4348-829F-46AC-ABAF-C6AC7244446C}"/>
              </a:ext>
            </a:extLst>
          </p:cNvPr>
          <p:cNvSpPr/>
          <p:nvPr/>
        </p:nvSpPr>
        <p:spPr>
          <a:xfrm>
            <a:off x="4826220" y="5684834"/>
            <a:ext cx="2688892" cy="673551"/>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topics, and language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ll Check API</a:t>
            </a:r>
          </a:p>
        </p:txBody>
      </p:sp>
      <p:sp>
        <p:nvSpPr>
          <p:cNvPr id="120" name="Rectangle 119">
            <a:extLst>
              <a:ext uri="{FF2B5EF4-FFF2-40B4-BE49-F238E27FC236}">
                <a16:creationId xmlns:a16="http://schemas.microsoft.com/office/drawing/2014/main" id="{3E2788E7-730E-4B10-8379-AAECF59651D0}"/>
              </a:ext>
            </a:extLst>
          </p:cNvPr>
          <p:cNvSpPr/>
          <p:nvPr/>
        </p:nvSpPr>
        <p:spPr>
          <a:xfrm>
            <a:off x="1395775"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30" name="TextBox 129">
            <a:extLst>
              <a:ext uri="{FF2B5EF4-FFF2-40B4-BE49-F238E27FC236}">
                <a16:creationId xmlns:a16="http://schemas.microsoft.com/office/drawing/2014/main" id="{380D9FA8-CE8C-480C-A1D1-21D267ECB3F0}"/>
              </a:ext>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Language Model API</a:t>
            </a:r>
          </a:p>
        </p:txBody>
      </p:sp>
      <p:sp>
        <p:nvSpPr>
          <p:cNvPr id="131" name="Rectangle 130">
            <a:extLst>
              <a:ext uri="{FF2B5EF4-FFF2-40B4-BE49-F238E27FC236}">
                <a16:creationId xmlns:a16="http://schemas.microsoft.com/office/drawing/2014/main" id="{A9521D52-003C-4F18-8886-237C58BE477F}"/>
              </a:ext>
            </a:extLst>
          </p:cNvPr>
          <p:cNvSpPr/>
          <p:nvPr/>
        </p:nvSpPr>
        <p:spPr>
          <a:xfrm>
            <a:off x="4826220" y="3266853"/>
            <a:ext cx="2688892" cy="673551"/>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everage the power of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models train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on web-scale data</a:t>
            </a:r>
          </a:p>
        </p:txBody>
      </p:sp>
      <p:sp>
        <p:nvSpPr>
          <p:cNvPr id="141" name="TextBox 140">
            <a:extLst>
              <a:ext uri="{FF2B5EF4-FFF2-40B4-BE49-F238E27FC236}">
                <a16:creationId xmlns:a16="http://schemas.microsoft.com/office/drawing/2014/main" id="{544A23D6-1EE7-48AD-B625-4BE7DEF2B1AD}"/>
              </a:ext>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guistic Analysis API</a:t>
            </a:r>
          </a:p>
        </p:txBody>
      </p:sp>
      <p:sp>
        <p:nvSpPr>
          <p:cNvPr id="142" name="Rectangle 141">
            <a:extLst>
              <a:ext uri="{FF2B5EF4-FFF2-40B4-BE49-F238E27FC236}">
                <a16:creationId xmlns:a16="http://schemas.microsoft.com/office/drawing/2014/main" id="{37DE5736-44FC-4CB7-B99E-1B0C1B3B8B84}"/>
              </a:ext>
            </a:extLst>
          </p:cNvPr>
          <p:cNvSpPr/>
          <p:nvPr/>
        </p:nvSpPr>
        <p:spPr>
          <a:xfrm>
            <a:off x="8220330"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arse complex tex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ith language analysis</a:t>
            </a:r>
          </a:p>
        </p:txBody>
      </p:sp>
      <p:sp>
        <p:nvSpPr>
          <p:cNvPr id="152" name="TextBox 151">
            <a:extLst>
              <a:ext uri="{FF2B5EF4-FFF2-40B4-BE49-F238E27FC236}">
                <a16:creationId xmlns:a16="http://schemas.microsoft.com/office/drawing/2014/main" id="{E8D6C3B4-64CC-4E7F-B45E-2EE2B4D328A0}"/>
              </a:ext>
            </a:extLst>
          </p:cNvPr>
          <p:cNvSpPr txBox="1"/>
          <p:nvPr/>
        </p:nvSpPr>
        <p:spPr>
          <a:xfrm>
            <a:off x="1338031" y="5078201"/>
            <a:ext cx="2804380" cy="726803"/>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b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ntelligent Service</a:t>
            </a:r>
          </a:p>
        </p:txBody>
      </p:sp>
      <p:sp>
        <p:nvSpPr>
          <p:cNvPr id="153" name="Rectangle 152">
            <a:extLst>
              <a:ext uri="{FF2B5EF4-FFF2-40B4-BE49-F238E27FC236}">
                <a16:creationId xmlns:a16="http://schemas.microsoft.com/office/drawing/2014/main" id="{F4AB2BA7-6DEE-4CE2-B722-7FC095B8A4BB}"/>
              </a:ext>
            </a:extLst>
          </p:cNvPr>
          <p:cNvSpPr/>
          <p:nvPr/>
        </p:nvSpPr>
        <p:spPr>
          <a:xfrm>
            <a:off x="1395775" y="5684835"/>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156" name="Rectangle 155">
            <a:extLst>
              <a:ext uri="{FF2B5EF4-FFF2-40B4-BE49-F238E27FC236}">
                <a16:creationId xmlns:a16="http://schemas.microsoft.com/office/drawing/2014/main" id="{6EDB0E3E-ED3E-48E0-9420-DEC0AEA26C26}"/>
              </a:ext>
            </a:extLst>
          </p:cNvPr>
          <p:cNvSpPr/>
          <p:nvPr/>
        </p:nvSpPr>
        <p:spPr>
          <a:xfrm>
            <a:off x="8220330" y="5684835"/>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a:extLst/>
          </p:cNvPr>
          <p:cNvSpPr txBox="1"/>
          <p:nvPr/>
        </p:nvSpPr>
        <p:spPr>
          <a:xfrm>
            <a:off x="8604539" y="5191034"/>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2448337" y="198270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8">
            <a:extLst>
              <a:ext uri="{FF2B5EF4-FFF2-40B4-BE49-F238E27FC236}">
                <a16:creationId xmlns:a16="http://schemas.microsoft.com/office/drawing/2014/main" id="{FBBCB57C-F52F-4502-8098-2DE790C8DE2D}"/>
              </a:ext>
            </a:extLst>
          </p:cNvPr>
          <p:cNvGrpSpPr>
            <a:grpSpLocks noChangeAspect="1"/>
          </p:cNvGrpSpPr>
          <p:nvPr/>
        </p:nvGrpSpPr>
        <p:grpSpPr bwMode="auto">
          <a:xfrm>
            <a:off x="9158622" y="2080894"/>
            <a:ext cx="807217" cy="417437"/>
            <a:chOff x="3" y="0"/>
            <a:chExt cx="3123" cy="1615"/>
          </a:xfrm>
          <a:solidFill>
            <a:srgbClr val="047CDA"/>
          </a:solidFill>
        </p:grpSpPr>
        <p:sp>
          <p:nvSpPr>
            <p:cNvPr id="67" name="Freeform 9">
              <a:extLst>
                <a:ext uri="{FF2B5EF4-FFF2-40B4-BE49-F238E27FC236}">
                  <a16:creationId xmlns:a16="http://schemas.microsoft.com/office/drawing/2014/main" id="{A73B73ED-D9E5-4591-8E24-FF641032BA2B}"/>
                </a:ext>
              </a:extLst>
            </p:cNvPr>
            <p:cNvSpPr>
              <a:spLocks/>
            </p:cNvSpPr>
            <p:nvPr/>
          </p:nvSpPr>
          <p:spPr bwMode="auto">
            <a:xfrm>
              <a:off x="1327" y="570"/>
              <a:ext cx="474" cy="475"/>
            </a:xfrm>
            <a:custGeom>
              <a:avLst/>
              <a:gdLst>
                <a:gd name="T0" fmla="*/ 115 w 228"/>
                <a:gd name="T1" fmla="*/ 0 h 228"/>
                <a:gd name="T2" fmla="*/ 196 w 228"/>
                <a:gd name="T3" fmla="*/ 32 h 228"/>
                <a:gd name="T4" fmla="*/ 228 w 228"/>
                <a:gd name="T5" fmla="*/ 113 h 228"/>
                <a:gd name="T6" fmla="*/ 196 w 228"/>
                <a:gd name="T7" fmla="*/ 195 h 228"/>
                <a:gd name="T8" fmla="*/ 115 w 228"/>
                <a:gd name="T9" fmla="*/ 228 h 228"/>
                <a:gd name="T10" fmla="*/ 33 w 228"/>
                <a:gd name="T11" fmla="*/ 194 h 228"/>
                <a:gd name="T12" fmla="*/ 0 w 228"/>
                <a:gd name="T13" fmla="*/ 113 h 228"/>
                <a:gd name="T14" fmla="*/ 33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148" y="0"/>
                    <a:pt x="175" y="11"/>
                    <a:pt x="196" y="32"/>
                  </a:cubicBezTo>
                  <a:cubicBezTo>
                    <a:pt x="217" y="54"/>
                    <a:pt x="228" y="81"/>
                    <a:pt x="228" y="113"/>
                  </a:cubicBezTo>
                  <a:cubicBezTo>
                    <a:pt x="228" y="146"/>
                    <a:pt x="217" y="174"/>
                    <a:pt x="196" y="195"/>
                  </a:cubicBezTo>
                  <a:cubicBezTo>
                    <a:pt x="175" y="217"/>
                    <a:pt x="148" y="228"/>
                    <a:pt x="115" y="228"/>
                  </a:cubicBezTo>
                  <a:cubicBezTo>
                    <a:pt x="81" y="228"/>
                    <a:pt x="54" y="217"/>
                    <a:pt x="33" y="194"/>
                  </a:cubicBezTo>
                  <a:cubicBezTo>
                    <a:pt x="11" y="172"/>
                    <a:pt x="0" y="145"/>
                    <a:pt x="0" y="113"/>
                  </a:cubicBezTo>
                  <a:cubicBezTo>
                    <a:pt x="0" y="80"/>
                    <a:pt x="11" y="53"/>
                    <a:pt x="33" y="32"/>
                  </a:cubicBezTo>
                  <a:cubicBezTo>
                    <a:pt x="55" y="11"/>
                    <a:pt x="82"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0">
              <a:extLst>
                <a:ext uri="{FF2B5EF4-FFF2-40B4-BE49-F238E27FC236}">
                  <a16:creationId xmlns:a16="http://schemas.microsoft.com/office/drawing/2014/main" id="{9EBB1672-5886-4480-9BF1-F6A4FA39A273}"/>
                </a:ext>
              </a:extLst>
            </p:cNvPr>
            <p:cNvSpPr>
              <a:spLocks/>
            </p:cNvSpPr>
            <p:nvPr/>
          </p:nvSpPr>
          <p:spPr bwMode="auto">
            <a:xfrm>
              <a:off x="2652" y="570"/>
              <a:ext cx="474" cy="475"/>
            </a:xfrm>
            <a:custGeom>
              <a:avLst/>
              <a:gdLst>
                <a:gd name="T0" fmla="*/ 115 w 228"/>
                <a:gd name="T1" fmla="*/ 0 h 228"/>
                <a:gd name="T2" fmla="*/ 33 w 228"/>
                <a:gd name="T3" fmla="*/ 32 h 228"/>
                <a:gd name="T4" fmla="*/ 0 w 228"/>
                <a:gd name="T5" fmla="*/ 113 h 228"/>
                <a:gd name="T6" fmla="*/ 33 w 228"/>
                <a:gd name="T7" fmla="*/ 194 h 228"/>
                <a:gd name="T8" fmla="*/ 115 w 228"/>
                <a:gd name="T9" fmla="*/ 228 h 228"/>
                <a:gd name="T10" fmla="*/ 197 w 228"/>
                <a:gd name="T11" fmla="*/ 195 h 228"/>
                <a:gd name="T12" fmla="*/ 228 w 228"/>
                <a:gd name="T13" fmla="*/ 113 h 228"/>
                <a:gd name="T14" fmla="*/ 196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82" y="0"/>
                    <a:pt x="55" y="11"/>
                    <a:pt x="33" y="32"/>
                  </a:cubicBezTo>
                  <a:cubicBezTo>
                    <a:pt x="11" y="53"/>
                    <a:pt x="0" y="80"/>
                    <a:pt x="0" y="113"/>
                  </a:cubicBezTo>
                  <a:cubicBezTo>
                    <a:pt x="0" y="145"/>
                    <a:pt x="11" y="172"/>
                    <a:pt x="33" y="194"/>
                  </a:cubicBezTo>
                  <a:cubicBezTo>
                    <a:pt x="54" y="217"/>
                    <a:pt x="82" y="228"/>
                    <a:pt x="115" y="228"/>
                  </a:cubicBezTo>
                  <a:cubicBezTo>
                    <a:pt x="148" y="228"/>
                    <a:pt x="176" y="217"/>
                    <a:pt x="197" y="195"/>
                  </a:cubicBezTo>
                  <a:cubicBezTo>
                    <a:pt x="217" y="174"/>
                    <a:pt x="228" y="146"/>
                    <a:pt x="228" y="113"/>
                  </a:cubicBezTo>
                  <a:cubicBezTo>
                    <a:pt x="228" y="81"/>
                    <a:pt x="217" y="54"/>
                    <a:pt x="196" y="32"/>
                  </a:cubicBezTo>
                  <a:cubicBezTo>
                    <a:pt x="175" y="11"/>
                    <a:pt x="148"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
              <a:extLst>
                <a:ext uri="{FF2B5EF4-FFF2-40B4-BE49-F238E27FC236}">
                  <a16:creationId xmlns:a16="http://schemas.microsoft.com/office/drawing/2014/main" id="{77449BF7-1B39-4545-9A5B-AFCDFDD2A65B}"/>
                </a:ext>
              </a:extLst>
            </p:cNvPr>
            <p:cNvSpPr>
              <a:spLocks/>
            </p:cNvSpPr>
            <p:nvPr/>
          </p:nvSpPr>
          <p:spPr bwMode="auto">
            <a:xfrm>
              <a:off x="3" y="570"/>
              <a:ext cx="474" cy="475"/>
            </a:xfrm>
            <a:custGeom>
              <a:avLst/>
              <a:gdLst>
                <a:gd name="T0" fmla="*/ 114 w 228"/>
                <a:gd name="T1" fmla="*/ 0 h 228"/>
                <a:gd name="T2" fmla="*/ 33 w 228"/>
                <a:gd name="T3" fmla="*/ 32 h 228"/>
                <a:gd name="T4" fmla="*/ 0 w 228"/>
                <a:gd name="T5" fmla="*/ 113 h 228"/>
                <a:gd name="T6" fmla="*/ 32 w 228"/>
                <a:gd name="T7" fmla="*/ 194 h 228"/>
                <a:gd name="T8" fmla="*/ 114 w 228"/>
                <a:gd name="T9" fmla="*/ 228 h 228"/>
                <a:gd name="T10" fmla="*/ 196 w 228"/>
                <a:gd name="T11" fmla="*/ 195 h 228"/>
                <a:gd name="T12" fmla="*/ 228 w 228"/>
                <a:gd name="T13" fmla="*/ 113 h 228"/>
                <a:gd name="T14" fmla="*/ 196 w 228"/>
                <a:gd name="T15" fmla="*/ 32 h 228"/>
                <a:gd name="T16" fmla="*/ 114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4" y="0"/>
                  </a:moveTo>
                  <a:cubicBezTo>
                    <a:pt x="82" y="0"/>
                    <a:pt x="54" y="11"/>
                    <a:pt x="33" y="32"/>
                  </a:cubicBezTo>
                  <a:cubicBezTo>
                    <a:pt x="11" y="53"/>
                    <a:pt x="0" y="80"/>
                    <a:pt x="0" y="113"/>
                  </a:cubicBezTo>
                  <a:cubicBezTo>
                    <a:pt x="0" y="145"/>
                    <a:pt x="11" y="172"/>
                    <a:pt x="32" y="194"/>
                  </a:cubicBezTo>
                  <a:cubicBezTo>
                    <a:pt x="54" y="217"/>
                    <a:pt x="81" y="228"/>
                    <a:pt x="114" y="228"/>
                  </a:cubicBezTo>
                  <a:cubicBezTo>
                    <a:pt x="148" y="228"/>
                    <a:pt x="175" y="217"/>
                    <a:pt x="196" y="195"/>
                  </a:cubicBezTo>
                  <a:cubicBezTo>
                    <a:pt x="217" y="174"/>
                    <a:pt x="228" y="146"/>
                    <a:pt x="228" y="113"/>
                  </a:cubicBezTo>
                  <a:cubicBezTo>
                    <a:pt x="228" y="81"/>
                    <a:pt x="217" y="54"/>
                    <a:pt x="196" y="32"/>
                  </a:cubicBezTo>
                  <a:cubicBezTo>
                    <a:pt x="175" y="11"/>
                    <a:pt x="148"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
              <a:extLst>
                <a:ext uri="{FF2B5EF4-FFF2-40B4-BE49-F238E27FC236}">
                  <a16:creationId xmlns:a16="http://schemas.microsoft.com/office/drawing/2014/main" id="{2AACE06A-D9B2-48B6-8222-8280588C4688}"/>
                </a:ext>
              </a:extLst>
            </p:cNvPr>
            <p:cNvSpPr>
              <a:spLocks noEditPoints="1"/>
            </p:cNvSpPr>
            <p:nvPr/>
          </p:nvSpPr>
          <p:spPr bwMode="auto">
            <a:xfrm>
              <a:off x="760" y="0"/>
              <a:ext cx="1609" cy="1615"/>
            </a:xfrm>
            <a:custGeom>
              <a:avLst/>
              <a:gdLst>
                <a:gd name="T0" fmla="*/ 189 w 1609"/>
                <a:gd name="T1" fmla="*/ 1425 h 1615"/>
                <a:gd name="T2" fmla="*/ 1420 w 1609"/>
                <a:gd name="T3" fmla="*/ 1425 h 1615"/>
                <a:gd name="T4" fmla="*/ 1420 w 1609"/>
                <a:gd name="T5" fmla="*/ 190 h 1615"/>
                <a:gd name="T6" fmla="*/ 189 w 1609"/>
                <a:gd name="T7" fmla="*/ 190 h 1615"/>
                <a:gd name="T8" fmla="*/ 189 w 1609"/>
                <a:gd name="T9" fmla="*/ 1425 h 1615"/>
                <a:gd name="T10" fmla="*/ 0 w 1609"/>
                <a:gd name="T11" fmla="*/ 1615 h 1615"/>
                <a:gd name="T12" fmla="*/ 1609 w 1609"/>
                <a:gd name="T13" fmla="*/ 1615 h 1615"/>
                <a:gd name="T14" fmla="*/ 1609 w 1609"/>
                <a:gd name="T15" fmla="*/ 0 h 1615"/>
                <a:gd name="T16" fmla="*/ 0 w 1609"/>
                <a:gd name="T17" fmla="*/ 0 h 1615"/>
                <a:gd name="T18" fmla="*/ 0 w 1609"/>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9" h="1615">
                  <a:moveTo>
                    <a:pt x="189" y="1425"/>
                  </a:moveTo>
                  <a:lnTo>
                    <a:pt x="1420" y="1425"/>
                  </a:lnTo>
                  <a:lnTo>
                    <a:pt x="1420" y="190"/>
                  </a:lnTo>
                  <a:lnTo>
                    <a:pt x="189" y="190"/>
                  </a:lnTo>
                  <a:lnTo>
                    <a:pt x="189" y="1425"/>
                  </a:lnTo>
                  <a:close/>
                  <a:moveTo>
                    <a:pt x="0" y="1615"/>
                  </a:moveTo>
                  <a:lnTo>
                    <a:pt x="1609" y="1615"/>
                  </a:lnTo>
                  <a:lnTo>
                    <a:pt x="1609" y="0"/>
                  </a:lnTo>
                  <a:lnTo>
                    <a:pt x="0" y="0"/>
                  </a:lnTo>
                  <a:lnTo>
                    <a:pt x="0" y="16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2426824" y="4339140"/>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5875577" y="4378336"/>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9274217" y="4299799"/>
            <a:ext cx="604670" cy="606207"/>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Freeform 31">
            <a:extLst>
              <a:ext uri="{FF2B5EF4-FFF2-40B4-BE49-F238E27FC236}">
                <a16:creationId xmlns:a16="http://schemas.microsoft.com/office/drawing/2014/main" id="{C49D6B46-FE96-4DE2-80B3-F80851384701}"/>
              </a:ext>
            </a:extLst>
          </p:cNvPr>
          <p:cNvSpPr>
            <a:spLocks noEditPoints="1"/>
          </p:cNvSpPr>
          <p:nvPr/>
        </p:nvSpPr>
        <p:spPr bwMode="auto">
          <a:xfrm>
            <a:off x="5776847" y="2139658"/>
            <a:ext cx="784875" cy="323051"/>
          </a:xfrm>
          <a:custGeom>
            <a:avLst/>
            <a:gdLst>
              <a:gd name="T0" fmla="*/ 1135 w 3122"/>
              <a:gd name="T1" fmla="*/ 0 h 1285"/>
              <a:gd name="T2" fmla="*/ 1135 w 3122"/>
              <a:gd name="T3" fmla="*/ 245 h 1285"/>
              <a:gd name="T4" fmla="*/ 305 w 3122"/>
              <a:gd name="T5" fmla="*/ 660 h 1285"/>
              <a:gd name="T6" fmla="*/ 305 w 3122"/>
              <a:gd name="T7" fmla="*/ 665 h 1285"/>
              <a:gd name="T8" fmla="*/ 1135 w 3122"/>
              <a:gd name="T9" fmla="*/ 1043 h 1285"/>
              <a:gd name="T10" fmla="*/ 1135 w 3122"/>
              <a:gd name="T11" fmla="*/ 1285 h 1285"/>
              <a:gd name="T12" fmla="*/ 0 w 3122"/>
              <a:gd name="T13" fmla="*/ 734 h 1285"/>
              <a:gd name="T14" fmla="*/ 0 w 3122"/>
              <a:gd name="T15" fmla="*/ 598 h 1285"/>
              <a:gd name="T16" fmla="*/ 1135 w 3122"/>
              <a:gd name="T17" fmla="*/ 0 h 1285"/>
              <a:gd name="T18" fmla="*/ 1987 w 3122"/>
              <a:gd name="T19" fmla="*/ 0 h 1285"/>
              <a:gd name="T20" fmla="*/ 3122 w 3122"/>
              <a:gd name="T21" fmla="*/ 598 h 1285"/>
              <a:gd name="T22" fmla="*/ 3122 w 3122"/>
              <a:gd name="T23" fmla="*/ 734 h 1285"/>
              <a:gd name="T24" fmla="*/ 1987 w 3122"/>
              <a:gd name="T25" fmla="*/ 1285 h 1285"/>
              <a:gd name="T26" fmla="*/ 1987 w 3122"/>
              <a:gd name="T27" fmla="*/ 1041 h 1285"/>
              <a:gd name="T28" fmla="*/ 2818 w 3122"/>
              <a:gd name="T29" fmla="*/ 669 h 1285"/>
              <a:gd name="T30" fmla="*/ 2818 w 3122"/>
              <a:gd name="T31" fmla="*/ 660 h 1285"/>
              <a:gd name="T32" fmla="*/ 1987 w 3122"/>
              <a:gd name="T33" fmla="*/ 245 h 1285"/>
              <a:gd name="T34" fmla="*/ 1987 w 3122"/>
              <a:gd name="T35" fmla="*/ 0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2" h="1285">
                <a:moveTo>
                  <a:pt x="1135" y="0"/>
                </a:moveTo>
                <a:lnTo>
                  <a:pt x="1135" y="245"/>
                </a:lnTo>
                <a:lnTo>
                  <a:pt x="305" y="660"/>
                </a:lnTo>
                <a:lnTo>
                  <a:pt x="305" y="665"/>
                </a:lnTo>
                <a:lnTo>
                  <a:pt x="1135" y="1043"/>
                </a:lnTo>
                <a:lnTo>
                  <a:pt x="1135" y="1285"/>
                </a:lnTo>
                <a:lnTo>
                  <a:pt x="0" y="734"/>
                </a:lnTo>
                <a:lnTo>
                  <a:pt x="0" y="598"/>
                </a:lnTo>
                <a:lnTo>
                  <a:pt x="1135" y="0"/>
                </a:lnTo>
                <a:close/>
                <a:moveTo>
                  <a:pt x="1987" y="0"/>
                </a:moveTo>
                <a:lnTo>
                  <a:pt x="3122" y="598"/>
                </a:lnTo>
                <a:lnTo>
                  <a:pt x="3122" y="734"/>
                </a:lnTo>
                <a:lnTo>
                  <a:pt x="1987" y="1285"/>
                </a:lnTo>
                <a:lnTo>
                  <a:pt x="1987" y="1041"/>
                </a:lnTo>
                <a:lnTo>
                  <a:pt x="2818" y="669"/>
                </a:lnTo>
                <a:lnTo>
                  <a:pt x="2818" y="660"/>
                </a:lnTo>
                <a:lnTo>
                  <a:pt x="1987" y="245"/>
                </a:lnTo>
                <a:lnTo>
                  <a:pt x="1987" y="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0-#ppt_w/2"/>
                                          </p:val>
                                        </p:tav>
                                        <p:tav tm="100000">
                                          <p:val>
                                            <p:strVal val="#ppt_x"/>
                                          </p:val>
                                        </p:tav>
                                      </p:tavLst>
                                    </p:anim>
                                    <p:anim calcmode="lin" valueType="num">
                                      <p:cBhvr additive="base">
                                        <p:cTn id="8" dur="5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anim calcmode="lin" valueType="num">
                                      <p:cBhvr>
                                        <p:cTn id="21" dur="500" fill="hold"/>
                                        <p:tgtEl>
                                          <p:spTgt spid="79"/>
                                        </p:tgtEl>
                                        <p:attrNameLst>
                                          <p:attrName>ppt_w</p:attrName>
                                        </p:attrNameLst>
                                      </p:cBhvr>
                                      <p:tavLst>
                                        <p:tav tm="0">
                                          <p:val>
                                            <p:fltVal val="0"/>
                                          </p:val>
                                        </p:tav>
                                        <p:tav tm="100000">
                                          <p:val>
                                            <p:strVal val="#ppt_w"/>
                                          </p:val>
                                        </p:tav>
                                      </p:tavLst>
                                    </p:anim>
                                    <p:anim calcmode="lin" valueType="num">
                                      <p:cBhvr>
                                        <p:cTn id="22" dur="500" fill="hold"/>
                                        <p:tgtEl>
                                          <p:spTgt spid="79"/>
                                        </p:tgtEl>
                                        <p:attrNameLst>
                                          <p:attrName>ppt_h</p:attrName>
                                        </p:attrNameLst>
                                      </p:cBhvr>
                                      <p:tavLst>
                                        <p:tav tm="0">
                                          <p:val>
                                            <p:fltVal val="0"/>
                                          </p:val>
                                        </p:tav>
                                        <p:tav tm="100000">
                                          <p:val>
                                            <p:strVal val="#ppt_h"/>
                                          </p:val>
                                        </p:tav>
                                      </p:tavLst>
                                    </p:anim>
                                    <p:animEffect transition="in" filter="fade">
                                      <p:cBhvr>
                                        <p:cTn id="23" dur="500"/>
                                        <p:tgtEl>
                                          <p:spTgt spid="79"/>
                                        </p:tgtEl>
                                      </p:cBhvr>
                                    </p:animEffect>
                                  </p:childTnLst>
                                </p:cTn>
                              </p:par>
                              <p:par>
                                <p:cTn id="24" presetID="53" presetClass="entr" presetSubtype="16"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 calcmode="lin" valueType="num">
                                      <p:cBhvr>
                                        <p:cTn id="26" dur="500" fill="hold"/>
                                        <p:tgtEl>
                                          <p:spTgt spid="66"/>
                                        </p:tgtEl>
                                        <p:attrNameLst>
                                          <p:attrName>ppt_w</p:attrName>
                                        </p:attrNameLst>
                                      </p:cBhvr>
                                      <p:tavLst>
                                        <p:tav tm="0">
                                          <p:val>
                                            <p:fltVal val="0"/>
                                          </p:val>
                                        </p:tav>
                                        <p:tav tm="100000">
                                          <p:val>
                                            <p:strVal val="#ppt_w"/>
                                          </p:val>
                                        </p:tav>
                                      </p:tavLst>
                                    </p:anim>
                                    <p:anim calcmode="lin" valueType="num">
                                      <p:cBhvr>
                                        <p:cTn id="27" dur="500" fill="hold"/>
                                        <p:tgtEl>
                                          <p:spTgt spid="66"/>
                                        </p:tgtEl>
                                        <p:attrNameLst>
                                          <p:attrName>ppt_h</p:attrName>
                                        </p:attrNameLst>
                                      </p:cBhvr>
                                      <p:tavLst>
                                        <p:tav tm="0">
                                          <p:val>
                                            <p:fltVal val="0"/>
                                          </p:val>
                                        </p:tav>
                                        <p:tav tm="100000">
                                          <p:val>
                                            <p:strVal val="#ppt_h"/>
                                          </p:val>
                                        </p:tav>
                                      </p:tavLst>
                                    </p:anim>
                                    <p:animEffect transition="in" filter="fade">
                                      <p:cBhvr>
                                        <p:cTn id="28" dur="500"/>
                                        <p:tgtEl>
                                          <p:spTgt spid="66"/>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500" fill="hold"/>
                                        <p:tgtEl>
                                          <p:spTgt spid="73"/>
                                        </p:tgtEl>
                                        <p:attrNameLst>
                                          <p:attrName>ppt_w</p:attrName>
                                        </p:attrNameLst>
                                      </p:cBhvr>
                                      <p:tavLst>
                                        <p:tav tm="0">
                                          <p:val>
                                            <p:fltVal val="0"/>
                                          </p:val>
                                        </p:tav>
                                        <p:tav tm="100000">
                                          <p:val>
                                            <p:strVal val="#ppt_w"/>
                                          </p:val>
                                        </p:tav>
                                      </p:tavLst>
                                    </p:anim>
                                    <p:anim calcmode="lin" valueType="num">
                                      <p:cBhvr>
                                        <p:cTn id="37" dur="500" fill="hold"/>
                                        <p:tgtEl>
                                          <p:spTgt spid="73"/>
                                        </p:tgtEl>
                                        <p:attrNameLst>
                                          <p:attrName>ppt_h</p:attrName>
                                        </p:attrNameLst>
                                      </p:cBhvr>
                                      <p:tavLst>
                                        <p:tav tm="0">
                                          <p:val>
                                            <p:fltVal val="0"/>
                                          </p:val>
                                        </p:tav>
                                        <p:tav tm="100000">
                                          <p:val>
                                            <p:strVal val="#ppt_h"/>
                                          </p:val>
                                        </p:tav>
                                      </p:tavLst>
                                    </p:anim>
                                    <p:animEffect transition="in" filter="fade">
                                      <p:cBhvr>
                                        <p:cTn id="38" dur="500"/>
                                        <p:tgtEl>
                                          <p:spTgt spid="73"/>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p:cTn id="41" dur="500" fill="hold"/>
                                        <p:tgtEl>
                                          <p:spTgt spid="72"/>
                                        </p:tgtEl>
                                        <p:attrNameLst>
                                          <p:attrName>ppt_w</p:attrName>
                                        </p:attrNameLst>
                                      </p:cBhvr>
                                      <p:tavLst>
                                        <p:tav tm="0">
                                          <p:val>
                                            <p:fltVal val="0"/>
                                          </p:val>
                                        </p:tav>
                                        <p:tav tm="100000">
                                          <p:val>
                                            <p:strVal val="#ppt_w"/>
                                          </p:val>
                                        </p:tav>
                                      </p:tavLst>
                                    </p:anim>
                                    <p:anim calcmode="lin" valueType="num">
                                      <p:cBhvr>
                                        <p:cTn id="42" dur="500" fill="hold"/>
                                        <p:tgtEl>
                                          <p:spTgt spid="72"/>
                                        </p:tgtEl>
                                        <p:attrNameLst>
                                          <p:attrName>ppt_h</p:attrName>
                                        </p:attrNameLst>
                                      </p:cBhvr>
                                      <p:tavLst>
                                        <p:tav tm="0">
                                          <p:val>
                                            <p:fltVal val="0"/>
                                          </p:val>
                                        </p:tav>
                                        <p:tav tm="100000">
                                          <p:val>
                                            <p:strVal val="#ppt_h"/>
                                          </p:val>
                                        </p:tav>
                                      </p:tavLst>
                                    </p:anim>
                                    <p:animEffect transition="in" filter="fade">
                                      <p:cBhvr>
                                        <p:cTn id="43" dur="500"/>
                                        <p:tgtEl>
                                          <p:spTgt spid="72"/>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1"/>
                                        </p:tgtEl>
                                        <p:attrNameLst>
                                          <p:attrName>style.visibility</p:attrName>
                                        </p:attrNameLst>
                                      </p:cBhvr>
                                      <p:to>
                                        <p:strVal val="visible"/>
                                      </p:to>
                                    </p:set>
                                    <p:animEffect transition="in" filter="fade">
                                      <p:cBhvr>
                                        <p:cTn id="50" dur="500"/>
                                        <p:tgtEl>
                                          <p:spTgt spid="14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2"/>
                                        </p:tgtEl>
                                        <p:attrNameLst>
                                          <p:attrName>style.visibility</p:attrName>
                                        </p:attrNameLst>
                                      </p:cBhvr>
                                      <p:to>
                                        <p:strVal val="visible"/>
                                      </p:to>
                                    </p:set>
                                    <p:animEffect transition="in" filter="fade">
                                      <p:cBhvr>
                                        <p:cTn id="53" dur="500"/>
                                        <p:tgtEl>
                                          <p:spTgt spid="14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500"/>
                                        <p:tgtEl>
                                          <p:spTgt spid="7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500"/>
                                        <p:tgtEl>
                                          <p:spTgt spid="15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3"/>
                                        </p:tgtEl>
                                        <p:attrNameLst>
                                          <p:attrName>style.visibility</p:attrName>
                                        </p:attrNameLst>
                                      </p:cBhvr>
                                      <p:to>
                                        <p:strVal val="visible"/>
                                      </p:to>
                                    </p:set>
                                    <p:animEffect transition="in" filter="fade">
                                      <p:cBhvr>
                                        <p:cTn id="62" dur="500"/>
                                        <p:tgtEl>
                                          <p:spTgt spid="10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3"/>
                                        </p:tgtEl>
                                        <p:attrNameLst>
                                          <p:attrName>style.visibility</p:attrName>
                                        </p:attrNameLst>
                                      </p:cBhvr>
                                      <p:to>
                                        <p:strVal val="visible"/>
                                      </p:to>
                                    </p:set>
                                    <p:animEffect transition="in" filter="fade">
                                      <p:cBhvr>
                                        <p:cTn id="68" dur="500"/>
                                        <p:tgtEl>
                                          <p:spTgt spid="15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52"/>
                                        </p:tgtEl>
                                        <p:attrNameLst>
                                          <p:attrName>style.visibility</p:attrName>
                                        </p:attrNameLst>
                                      </p:cBhvr>
                                      <p:to>
                                        <p:strVal val="visible"/>
                                      </p:to>
                                    </p:set>
                                    <p:animEffect transition="in" filter="fade">
                                      <p:cBhvr>
                                        <p:cTn id="71" dur="500"/>
                                        <p:tgtEl>
                                          <p:spTgt spid="15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0"/>
                                        </p:tgtEl>
                                        <p:attrNameLst>
                                          <p:attrName>style.visibility</p:attrName>
                                        </p:attrNameLst>
                                      </p:cBhvr>
                                      <p:to>
                                        <p:strVal val="visible"/>
                                      </p:to>
                                    </p:set>
                                    <p:animEffect transition="in" filter="fade">
                                      <p:cBhvr>
                                        <p:cTn id="74" dur="500"/>
                                        <p:tgtEl>
                                          <p:spTgt spid="1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1"/>
                                        </p:tgtEl>
                                        <p:attrNameLst>
                                          <p:attrName>style.visibility</p:attrName>
                                        </p:attrNameLst>
                                      </p:cBhvr>
                                      <p:to>
                                        <p:strVal val="visible"/>
                                      </p:to>
                                    </p:set>
                                    <p:animEffect transition="in" filter="fade">
                                      <p:cBhvr>
                                        <p:cTn id="77" dur="500"/>
                                        <p:tgtEl>
                                          <p:spTgt spid="13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9"/>
                                        </p:tgtEl>
                                        <p:attrNameLst>
                                          <p:attrName>style.visibility</p:attrName>
                                        </p:attrNameLst>
                                      </p:cBhvr>
                                      <p:to>
                                        <p:strVal val="visible"/>
                                      </p:to>
                                    </p:set>
                                    <p:animEffect transition="in" filter="fade">
                                      <p:cBhvr>
                                        <p:cTn id="8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02" grpId="0"/>
      <p:bldP spid="103" grpId="0"/>
      <p:bldP spid="119" grpId="0"/>
      <p:bldP spid="120" grpId="0"/>
      <p:bldP spid="130" grpId="0"/>
      <p:bldP spid="131" grpId="0"/>
      <p:bldP spid="141" grpId="0"/>
      <p:bldP spid="142" grpId="0"/>
      <p:bldP spid="152" grpId="0"/>
      <p:bldP spid="153" grpId="0"/>
      <p:bldP spid="156" grpId="0"/>
      <p:bldP spid="70" grpId="0"/>
      <p:bldP spid="65" grpId="0" animBg="1"/>
      <p:bldP spid="72" grpId="0" animBg="1"/>
      <p:bldP spid="73" grpId="0" animBg="1"/>
      <p:bldP spid="7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Knowledge</a:t>
            </a:r>
            <a:endParaRPr lang="en-US" sz="4611">
              <a:gradFill>
                <a:gsLst>
                  <a:gs pos="1250">
                    <a:srgbClr val="353535"/>
                  </a:gs>
                  <a:gs pos="100000">
                    <a:srgbClr val="353535"/>
                  </a:gs>
                </a:gsLst>
                <a:lin ang="5400000" scaled="0"/>
              </a:gradFill>
              <a:latin typeface="Segoe UI Light"/>
            </a:endParaRPr>
          </a:p>
        </p:txBody>
      </p:sp>
      <p:sp>
        <p:nvSpPr>
          <p:cNvPr id="91" name="TextBox 90"/>
          <p:cNvSpPr txBox="1"/>
          <p:nvPr/>
        </p:nvSpPr>
        <p:spPr>
          <a:xfrm>
            <a:off x="855275" y="2996097"/>
            <a:ext cx="297299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cademic Knowledge API</a:t>
            </a:r>
          </a:p>
        </p:txBody>
      </p:sp>
      <p:sp>
        <p:nvSpPr>
          <p:cNvPr id="92" name="Rectangle 91"/>
          <p:cNvSpPr/>
          <p:nvPr/>
        </p:nvSpPr>
        <p:spPr>
          <a:xfrm>
            <a:off x="700741" y="3412597"/>
            <a:ext cx="3282058"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xplore relationships among academic papers, journals, and authors</a:t>
            </a:r>
          </a:p>
        </p:txBody>
      </p:sp>
      <p:sp>
        <p:nvSpPr>
          <p:cNvPr id="97" name="TextBox 96"/>
          <p:cNvSpPr txBox="1"/>
          <p:nvPr/>
        </p:nvSpPr>
        <p:spPr>
          <a:xfrm>
            <a:off x="4512821" y="2993636"/>
            <a:ext cx="3271420"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 Exploration Service</a:t>
            </a:r>
          </a:p>
        </p:txBody>
      </p:sp>
      <p:sp>
        <p:nvSpPr>
          <p:cNvPr id="98" name="Rectangle 97"/>
          <p:cNvSpPr/>
          <p:nvPr/>
        </p:nvSpPr>
        <p:spPr>
          <a:xfrm>
            <a:off x="4792267" y="3412597"/>
            <a:ext cx="2712527"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dd interactive search over structured data to your project</a:t>
            </a:r>
          </a:p>
        </p:txBody>
      </p:sp>
      <p:sp>
        <p:nvSpPr>
          <p:cNvPr id="100" name="TextBox 99"/>
          <p:cNvSpPr txBox="1"/>
          <p:nvPr/>
        </p:nvSpPr>
        <p:spPr>
          <a:xfrm>
            <a:off x="8506300" y="299359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ntity Linking Service</a:t>
            </a:r>
          </a:p>
        </p:txBody>
      </p:sp>
      <p:sp>
        <p:nvSpPr>
          <p:cNvPr id="101" name="Rectangle 100"/>
          <p:cNvSpPr/>
          <p:nvPr/>
        </p:nvSpPr>
        <p:spPr>
          <a:xfrm>
            <a:off x="8455896" y="3412596"/>
            <a:ext cx="2662796" cy="470442"/>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xtually extend knowledge of people, locations, and events</a:t>
            </a:r>
          </a:p>
        </p:txBody>
      </p:sp>
      <p:sp>
        <p:nvSpPr>
          <p:cNvPr id="123" name="Freeform 5"/>
          <p:cNvSpPr>
            <a:spLocks noEditPoints="1"/>
          </p:cNvSpPr>
          <p:nvPr/>
        </p:nvSpPr>
        <p:spPr bwMode="auto">
          <a:xfrm>
            <a:off x="2671996" y="5837447"/>
            <a:ext cx="953911" cy="950084"/>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914139">
              <a:defRPr/>
            </a:pPr>
            <a:endParaRPr lang="en-US" sz="1371">
              <a:solidFill>
                <a:srgbClr val="353535"/>
              </a:solidFill>
              <a:latin typeface="Segoe UI Semilight"/>
            </a:endParaRPr>
          </a:p>
        </p:txBody>
      </p:sp>
      <p:sp>
        <p:nvSpPr>
          <p:cNvPr id="42" name="Rectangle 41"/>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a:xfrm>
            <a:off x="760148" y="5730608"/>
            <a:ext cx="3163244"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vide personalized product recommendations for your customers</a:t>
            </a:r>
          </a:p>
        </p:txBody>
      </p:sp>
      <p:sp>
        <p:nvSpPr>
          <p:cNvPr id="61" name="TextBox 60"/>
          <p:cNvSpPr txBox="1"/>
          <p:nvPr/>
        </p:nvSpPr>
        <p:spPr>
          <a:xfrm>
            <a:off x="4723127" y="5311600"/>
            <a:ext cx="285081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Decision Service</a:t>
            </a:r>
          </a:p>
        </p:txBody>
      </p:sp>
      <p:sp>
        <p:nvSpPr>
          <p:cNvPr id="64" name="Rectangle 63"/>
          <p:cNvSpPr/>
          <p:nvPr/>
        </p:nvSpPr>
        <p:spPr>
          <a:xfrm>
            <a:off x="4592416" y="5730608"/>
            <a:ext cx="3112230"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custom experiences with adaptive, contextual decision-making</a:t>
            </a:r>
          </a:p>
        </p:txBody>
      </p:sp>
      <p:sp>
        <p:nvSpPr>
          <p:cNvPr id="69" name="TextBox 68"/>
          <p:cNvSpPr txBox="1"/>
          <p:nvPr/>
        </p:nvSpPr>
        <p:spPr>
          <a:xfrm>
            <a:off x="1060777"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ecommendations API</a:t>
            </a:r>
          </a:p>
        </p:txBody>
      </p:sp>
      <p:sp>
        <p:nvSpPr>
          <p:cNvPr id="43" name="TextBox 42">
            <a:extLst>
              <a:ext uri="{FF2B5EF4-FFF2-40B4-BE49-F238E27FC236}">
                <a16:creationId xmlns:a16="http://schemas.microsoft.com/office/drawing/2014/main" id="{7291256A-E2CE-4416-A7CF-BD83E4D38FB1}"/>
              </a:ext>
            </a:extLst>
          </p:cNvPr>
          <p:cNvSpPr txBox="1"/>
          <p:nvPr/>
        </p:nvSpPr>
        <p:spPr>
          <a:xfrm>
            <a:off x="8506300"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err="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QnA</a:t>
            </a: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Maker</a:t>
            </a:r>
          </a:p>
        </p:txBody>
      </p:sp>
      <p:sp>
        <p:nvSpPr>
          <p:cNvPr id="45" name="Rectangle 44">
            <a:extLst>
              <a:ext uri="{FF2B5EF4-FFF2-40B4-BE49-F238E27FC236}">
                <a16:creationId xmlns:a16="http://schemas.microsoft.com/office/drawing/2014/main" id="{6ECB4B9C-488A-44F4-A438-DBAA57B31A46}"/>
              </a:ext>
            </a:extLst>
          </p:cNvPr>
          <p:cNvSpPr/>
          <p:nvPr/>
        </p:nvSpPr>
        <p:spPr>
          <a:xfrm>
            <a:off x="8217228" y="5730607"/>
            <a:ext cx="3140132" cy="470442"/>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ill information into conversational, easy-to-navigate answers</a:t>
            </a:r>
          </a:p>
        </p:txBody>
      </p:sp>
      <p:sp>
        <p:nvSpPr>
          <p:cNvPr id="53" name="Freeform 5">
            <a:extLst>
              <a:ext uri="{FF2B5EF4-FFF2-40B4-BE49-F238E27FC236}">
                <a16:creationId xmlns:a16="http://schemas.microsoft.com/office/drawing/2014/main" id="{1196FA04-0681-4068-A007-5A846A1D820B}"/>
              </a:ext>
            </a:extLst>
          </p:cNvPr>
          <p:cNvSpPr>
            <a:spLocks noEditPoints="1"/>
          </p:cNvSpPr>
          <p:nvPr/>
        </p:nvSpPr>
        <p:spPr bwMode="auto">
          <a:xfrm>
            <a:off x="1992322" y="2100175"/>
            <a:ext cx="686812" cy="585539"/>
          </a:xfrm>
          <a:custGeom>
            <a:avLst/>
            <a:gdLst>
              <a:gd name="T0" fmla="*/ 1414 w 2828"/>
              <a:gd name="T1" fmla="*/ 0 h 2411"/>
              <a:gd name="T2" fmla="*/ 0 w 2828"/>
              <a:gd name="T3" fmla="*/ 936 h 2411"/>
              <a:gd name="T4" fmla="*/ 628 w 2828"/>
              <a:gd name="T5" fmla="*/ 1353 h 2411"/>
              <a:gd name="T6" fmla="*/ 443 w 2828"/>
              <a:gd name="T7" fmla="*/ 1773 h 2411"/>
              <a:gd name="T8" fmla="*/ 1404 w 2828"/>
              <a:gd name="T9" fmla="*/ 2411 h 2411"/>
              <a:gd name="T10" fmla="*/ 2360 w 2828"/>
              <a:gd name="T11" fmla="*/ 1778 h 2411"/>
              <a:gd name="T12" fmla="*/ 2204 w 2828"/>
              <a:gd name="T13" fmla="*/ 1348 h 2411"/>
              <a:gd name="T14" fmla="*/ 2639 w 2828"/>
              <a:gd name="T15" fmla="*/ 1061 h 2411"/>
              <a:gd name="T16" fmla="*/ 2639 w 2828"/>
              <a:gd name="T17" fmla="*/ 1742 h 2411"/>
              <a:gd name="T18" fmla="*/ 2828 w 2828"/>
              <a:gd name="T19" fmla="*/ 1742 h 2411"/>
              <a:gd name="T20" fmla="*/ 2828 w 2828"/>
              <a:gd name="T21" fmla="*/ 936 h 2411"/>
              <a:gd name="T22" fmla="*/ 1414 w 2828"/>
              <a:gd name="T23" fmla="*/ 0 h 2411"/>
              <a:gd name="T24" fmla="*/ 343 w 2828"/>
              <a:gd name="T25" fmla="*/ 936 h 2411"/>
              <a:gd name="T26" fmla="*/ 1414 w 2828"/>
              <a:gd name="T27" fmla="*/ 227 h 2411"/>
              <a:gd name="T28" fmla="*/ 2485 w 2828"/>
              <a:gd name="T29" fmla="*/ 936 h 2411"/>
              <a:gd name="T30" fmla="*/ 1414 w 2828"/>
              <a:gd name="T31" fmla="*/ 1646 h 2411"/>
              <a:gd name="T32" fmla="*/ 343 w 2828"/>
              <a:gd name="T33" fmla="*/ 936 h 2411"/>
              <a:gd name="T34" fmla="*/ 2042 w 2828"/>
              <a:gd name="T35" fmla="*/ 1457 h 2411"/>
              <a:gd name="T36" fmla="*/ 2132 w 2828"/>
              <a:gd name="T37" fmla="*/ 1701 h 2411"/>
              <a:gd name="T38" fmla="*/ 1404 w 2828"/>
              <a:gd name="T39" fmla="*/ 2184 h 2411"/>
              <a:gd name="T40" fmla="*/ 680 w 2828"/>
              <a:gd name="T41" fmla="*/ 1705 h 2411"/>
              <a:gd name="T42" fmla="*/ 788 w 2828"/>
              <a:gd name="T43" fmla="*/ 1459 h 2411"/>
              <a:gd name="T44" fmla="*/ 1414 w 2828"/>
              <a:gd name="T45" fmla="*/ 1873 h 2411"/>
              <a:gd name="T46" fmla="*/ 2042 w 2828"/>
              <a:gd name="T47" fmla="*/ 1457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8" h="2411">
                <a:moveTo>
                  <a:pt x="1414" y="0"/>
                </a:moveTo>
                <a:lnTo>
                  <a:pt x="0" y="936"/>
                </a:lnTo>
                <a:lnTo>
                  <a:pt x="628" y="1353"/>
                </a:lnTo>
                <a:lnTo>
                  <a:pt x="443" y="1773"/>
                </a:lnTo>
                <a:lnTo>
                  <a:pt x="1404" y="2411"/>
                </a:lnTo>
                <a:lnTo>
                  <a:pt x="2360" y="1778"/>
                </a:lnTo>
                <a:lnTo>
                  <a:pt x="2204" y="1348"/>
                </a:lnTo>
                <a:lnTo>
                  <a:pt x="2639" y="1061"/>
                </a:lnTo>
                <a:lnTo>
                  <a:pt x="2639" y="1742"/>
                </a:lnTo>
                <a:lnTo>
                  <a:pt x="2828" y="1742"/>
                </a:lnTo>
                <a:lnTo>
                  <a:pt x="2828" y="936"/>
                </a:lnTo>
                <a:lnTo>
                  <a:pt x="1414" y="0"/>
                </a:lnTo>
                <a:close/>
                <a:moveTo>
                  <a:pt x="343" y="936"/>
                </a:moveTo>
                <a:lnTo>
                  <a:pt x="1414" y="227"/>
                </a:lnTo>
                <a:lnTo>
                  <a:pt x="2485" y="936"/>
                </a:lnTo>
                <a:lnTo>
                  <a:pt x="1414" y="1646"/>
                </a:lnTo>
                <a:lnTo>
                  <a:pt x="343" y="936"/>
                </a:lnTo>
                <a:close/>
                <a:moveTo>
                  <a:pt x="2042" y="1457"/>
                </a:moveTo>
                <a:lnTo>
                  <a:pt x="2132" y="1701"/>
                </a:lnTo>
                <a:lnTo>
                  <a:pt x="1404" y="2184"/>
                </a:lnTo>
                <a:lnTo>
                  <a:pt x="680" y="1705"/>
                </a:lnTo>
                <a:lnTo>
                  <a:pt x="788" y="1459"/>
                </a:lnTo>
                <a:lnTo>
                  <a:pt x="1414" y="1873"/>
                </a:lnTo>
                <a:lnTo>
                  <a:pt x="2042" y="1457"/>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4" name="Group 8">
            <a:extLst>
              <a:ext uri="{FF2B5EF4-FFF2-40B4-BE49-F238E27FC236}">
                <a16:creationId xmlns:a16="http://schemas.microsoft.com/office/drawing/2014/main" id="{DF5983E9-3710-4D53-8AFA-E5F4C43E03A7}"/>
              </a:ext>
            </a:extLst>
          </p:cNvPr>
          <p:cNvGrpSpPr>
            <a:grpSpLocks noChangeAspect="1"/>
          </p:cNvGrpSpPr>
          <p:nvPr/>
        </p:nvGrpSpPr>
        <p:grpSpPr bwMode="auto">
          <a:xfrm>
            <a:off x="5816964" y="4467836"/>
            <a:ext cx="652848" cy="578655"/>
            <a:chOff x="0" y="2"/>
            <a:chExt cx="2675" cy="2371"/>
          </a:xfrm>
          <a:solidFill>
            <a:srgbClr val="047CDA"/>
          </a:solidFill>
        </p:grpSpPr>
        <p:sp>
          <p:nvSpPr>
            <p:cNvPr id="55" name="Freeform 9">
              <a:extLst>
                <a:ext uri="{FF2B5EF4-FFF2-40B4-BE49-F238E27FC236}">
                  <a16:creationId xmlns:a16="http://schemas.microsoft.com/office/drawing/2014/main" id="{6C81B3DE-81B7-46DA-9B6A-032195D05531}"/>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
              <a:extLst>
                <a:ext uri="{FF2B5EF4-FFF2-40B4-BE49-F238E27FC236}">
                  <a16:creationId xmlns:a16="http://schemas.microsoft.com/office/drawing/2014/main" id="{FC66A43B-D86A-4D19-A5AE-A329E8BED019}"/>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4">
            <a:extLst>
              <a:ext uri="{FF2B5EF4-FFF2-40B4-BE49-F238E27FC236}">
                <a16:creationId xmlns:a16="http://schemas.microsoft.com/office/drawing/2014/main" id="{FB2F7111-8340-4A0A-AACB-F61418BC685C}"/>
              </a:ext>
            </a:extLst>
          </p:cNvPr>
          <p:cNvSpPr>
            <a:spLocks noEditPoints="1"/>
          </p:cNvSpPr>
          <p:nvPr/>
        </p:nvSpPr>
        <p:spPr bwMode="auto">
          <a:xfrm>
            <a:off x="9492794" y="2094913"/>
            <a:ext cx="595270" cy="596528"/>
          </a:xfrm>
          <a:custGeom>
            <a:avLst/>
            <a:gdLst>
              <a:gd name="T0" fmla="*/ 1047 w 1138"/>
              <a:gd name="T1" fmla="*/ 944 h 1138"/>
              <a:gd name="T2" fmla="*/ 944 w 1138"/>
              <a:gd name="T3" fmla="*/ 1047 h 1138"/>
              <a:gd name="T4" fmla="*/ 581 w 1138"/>
              <a:gd name="T5" fmla="*/ 1047 h 1138"/>
              <a:gd name="T6" fmla="*/ 478 w 1138"/>
              <a:gd name="T7" fmla="*/ 944 h 1138"/>
              <a:gd name="T8" fmla="*/ 478 w 1138"/>
              <a:gd name="T9" fmla="*/ 751 h 1138"/>
              <a:gd name="T10" fmla="*/ 557 w 1138"/>
              <a:gd name="T11" fmla="*/ 751 h 1138"/>
              <a:gd name="T12" fmla="*/ 751 w 1138"/>
              <a:gd name="T13" fmla="*/ 557 h 1138"/>
              <a:gd name="T14" fmla="*/ 751 w 1138"/>
              <a:gd name="T15" fmla="*/ 478 h 1138"/>
              <a:gd name="T16" fmla="*/ 944 w 1138"/>
              <a:gd name="T17" fmla="*/ 478 h 1138"/>
              <a:gd name="T18" fmla="*/ 1047 w 1138"/>
              <a:gd name="T19" fmla="*/ 581 h 1138"/>
              <a:gd name="T20" fmla="*/ 1047 w 1138"/>
              <a:gd name="T21" fmla="*/ 944 h 1138"/>
              <a:gd name="T22" fmla="*/ 660 w 1138"/>
              <a:gd name="T23" fmla="*/ 478 h 1138"/>
              <a:gd name="T24" fmla="*/ 660 w 1138"/>
              <a:gd name="T25" fmla="*/ 557 h 1138"/>
              <a:gd name="T26" fmla="*/ 557 w 1138"/>
              <a:gd name="T27" fmla="*/ 660 h 1138"/>
              <a:gd name="T28" fmla="*/ 478 w 1138"/>
              <a:gd name="T29" fmla="*/ 660 h 1138"/>
              <a:gd name="T30" fmla="*/ 478 w 1138"/>
              <a:gd name="T31" fmla="*/ 581 h 1138"/>
              <a:gd name="T32" fmla="*/ 581 w 1138"/>
              <a:gd name="T33" fmla="*/ 478 h 1138"/>
              <a:gd name="T34" fmla="*/ 660 w 1138"/>
              <a:gd name="T35" fmla="*/ 478 h 1138"/>
              <a:gd name="T36" fmla="*/ 194 w 1138"/>
              <a:gd name="T37" fmla="*/ 660 h 1138"/>
              <a:gd name="T38" fmla="*/ 91 w 1138"/>
              <a:gd name="T39" fmla="*/ 557 h 1138"/>
              <a:gd name="T40" fmla="*/ 91 w 1138"/>
              <a:gd name="T41" fmla="*/ 194 h 1138"/>
              <a:gd name="T42" fmla="*/ 194 w 1138"/>
              <a:gd name="T43" fmla="*/ 91 h 1138"/>
              <a:gd name="T44" fmla="*/ 557 w 1138"/>
              <a:gd name="T45" fmla="*/ 91 h 1138"/>
              <a:gd name="T46" fmla="*/ 660 w 1138"/>
              <a:gd name="T47" fmla="*/ 194 h 1138"/>
              <a:gd name="T48" fmla="*/ 660 w 1138"/>
              <a:gd name="T49" fmla="*/ 387 h 1138"/>
              <a:gd name="T50" fmla="*/ 581 w 1138"/>
              <a:gd name="T51" fmla="*/ 387 h 1138"/>
              <a:gd name="T52" fmla="*/ 387 w 1138"/>
              <a:gd name="T53" fmla="*/ 581 h 1138"/>
              <a:gd name="T54" fmla="*/ 387 w 1138"/>
              <a:gd name="T55" fmla="*/ 660 h 1138"/>
              <a:gd name="T56" fmla="*/ 194 w 1138"/>
              <a:gd name="T57" fmla="*/ 660 h 1138"/>
              <a:gd name="T58" fmla="*/ 944 w 1138"/>
              <a:gd name="T59" fmla="*/ 387 h 1138"/>
              <a:gd name="T60" fmla="*/ 751 w 1138"/>
              <a:gd name="T61" fmla="*/ 387 h 1138"/>
              <a:gd name="T62" fmla="*/ 751 w 1138"/>
              <a:gd name="T63" fmla="*/ 194 h 1138"/>
              <a:gd name="T64" fmla="*/ 557 w 1138"/>
              <a:gd name="T65" fmla="*/ 0 h 1138"/>
              <a:gd name="T66" fmla="*/ 194 w 1138"/>
              <a:gd name="T67" fmla="*/ 0 h 1138"/>
              <a:gd name="T68" fmla="*/ 0 w 1138"/>
              <a:gd name="T69" fmla="*/ 194 h 1138"/>
              <a:gd name="T70" fmla="*/ 0 w 1138"/>
              <a:gd name="T71" fmla="*/ 557 h 1138"/>
              <a:gd name="T72" fmla="*/ 194 w 1138"/>
              <a:gd name="T73" fmla="*/ 751 h 1138"/>
              <a:gd name="T74" fmla="*/ 387 w 1138"/>
              <a:gd name="T75" fmla="*/ 751 h 1138"/>
              <a:gd name="T76" fmla="*/ 387 w 1138"/>
              <a:gd name="T77" fmla="*/ 944 h 1138"/>
              <a:gd name="T78" fmla="*/ 581 w 1138"/>
              <a:gd name="T79" fmla="*/ 1138 h 1138"/>
              <a:gd name="T80" fmla="*/ 944 w 1138"/>
              <a:gd name="T81" fmla="*/ 1138 h 1138"/>
              <a:gd name="T82" fmla="*/ 1138 w 1138"/>
              <a:gd name="T83" fmla="*/ 944 h 1138"/>
              <a:gd name="T84" fmla="*/ 1138 w 1138"/>
              <a:gd name="T85" fmla="*/ 581 h 1138"/>
              <a:gd name="T86" fmla="*/ 944 w 1138"/>
              <a:gd name="T87" fmla="*/ 38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8" h="1138">
                <a:moveTo>
                  <a:pt x="1047" y="944"/>
                </a:moveTo>
                <a:cubicBezTo>
                  <a:pt x="1047" y="1001"/>
                  <a:pt x="1001" y="1047"/>
                  <a:pt x="944" y="1047"/>
                </a:cubicBezTo>
                <a:cubicBezTo>
                  <a:pt x="581" y="1047"/>
                  <a:pt x="581" y="1047"/>
                  <a:pt x="581" y="1047"/>
                </a:cubicBezTo>
                <a:cubicBezTo>
                  <a:pt x="524" y="1047"/>
                  <a:pt x="478" y="1001"/>
                  <a:pt x="478" y="944"/>
                </a:cubicBezTo>
                <a:cubicBezTo>
                  <a:pt x="478" y="751"/>
                  <a:pt x="478" y="751"/>
                  <a:pt x="478" y="751"/>
                </a:cubicBezTo>
                <a:cubicBezTo>
                  <a:pt x="557" y="751"/>
                  <a:pt x="557" y="751"/>
                  <a:pt x="557" y="751"/>
                </a:cubicBezTo>
                <a:cubicBezTo>
                  <a:pt x="664" y="751"/>
                  <a:pt x="751" y="664"/>
                  <a:pt x="751" y="557"/>
                </a:cubicBezTo>
                <a:cubicBezTo>
                  <a:pt x="751" y="478"/>
                  <a:pt x="751" y="478"/>
                  <a:pt x="751" y="478"/>
                </a:cubicBezTo>
                <a:cubicBezTo>
                  <a:pt x="944" y="478"/>
                  <a:pt x="944" y="478"/>
                  <a:pt x="944" y="478"/>
                </a:cubicBezTo>
                <a:cubicBezTo>
                  <a:pt x="1001" y="478"/>
                  <a:pt x="1047" y="524"/>
                  <a:pt x="1047" y="581"/>
                </a:cubicBezTo>
                <a:lnTo>
                  <a:pt x="1047" y="944"/>
                </a:lnTo>
                <a:close/>
                <a:moveTo>
                  <a:pt x="660" y="478"/>
                </a:moveTo>
                <a:cubicBezTo>
                  <a:pt x="660" y="557"/>
                  <a:pt x="660" y="557"/>
                  <a:pt x="660" y="557"/>
                </a:cubicBezTo>
                <a:cubicBezTo>
                  <a:pt x="660" y="614"/>
                  <a:pt x="614" y="660"/>
                  <a:pt x="557" y="660"/>
                </a:cubicBezTo>
                <a:cubicBezTo>
                  <a:pt x="478" y="660"/>
                  <a:pt x="478" y="660"/>
                  <a:pt x="478" y="660"/>
                </a:cubicBezTo>
                <a:cubicBezTo>
                  <a:pt x="478" y="581"/>
                  <a:pt x="478" y="581"/>
                  <a:pt x="478" y="581"/>
                </a:cubicBezTo>
                <a:cubicBezTo>
                  <a:pt x="478" y="524"/>
                  <a:pt x="524" y="478"/>
                  <a:pt x="581" y="478"/>
                </a:cubicBezTo>
                <a:lnTo>
                  <a:pt x="660" y="478"/>
                </a:lnTo>
                <a:close/>
                <a:moveTo>
                  <a:pt x="194" y="660"/>
                </a:moveTo>
                <a:cubicBezTo>
                  <a:pt x="137" y="660"/>
                  <a:pt x="91" y="614"/>
                  <a:pt x="91" y="557"/>
                </a:cubicBezTo>
                <a:cubicBezTo>
                  <a:pt x="91" y="194"/>
                  <a:pt x="91" y="194"/>
                  <a:pt x="91" y="194"/>
                </a:cubicBezTo>
                <a:cubicBezTo>
                  <a:pt x="91" y="137"/>
                  <a:pt x="137" y="91"/>
                  <a:pt x="194" y="91"/>
                </a:cubicBezTo>
                <a:cubicBezTo>
                  <a:pt x="557" y="91"/>
                  <a:pt x="557" y="91"/>
                  <a:pt x="557" y="91"/>
                </a:cubicBezTo>
                <a:cubicBezTo>
                  <a:pt x="614" y="91"/>
                  <a:pt x="660" y="137"/>
                  <a:pt x="660" y="194"/>
                </a:cubicBezTo>
                <a:cubicBezTo>
                  <a:pt x="660" y="387"/>
                  <a:pt x="660" y="387"/>
                  <a:pt x="660" y="387"/>
                </a:cubicBezTo>
                <a:cubicBezTo>
                  <a:pt x="581" y="387"/>
                  <a:pt x="581" y="387"/>
                  <a:pt x="581" y="387"/>
                </a:cubicBezTo>
                <a:cubicBezTo>
                  <a:pt x="474" y="387"/>
                  <a:pt x="387" y="474"/>
                  <a:pt x="387" y="581"/>
                </a:cubicBezTo>
                <a:cubicBezTo>
                  <a:pt x="387" y="660"/>
                  <a:pt x="387" y="660"/>
                  <a:pt x="387" y="660"/>
                </a:cubicBezTo>
                <a:lnTo>
                  <a:pt x="194" y="660"/>
                </a:lnTo>
                <a:close/>
                <a:moveTo>
                  <a:pt x="944" y="387"/>
                </a:moveTo>
                <a:cubicBezTo>
                  <a:pt x="751" y="387"/>
                  <a:pt x="751" y="387"/>
                  <a:pt x="751" y="387"/>
                </a:cubicBezTo>
                <a:cubicBezTo>
                  <a:pt x="751" y="194"/>
                  <a:pt x="751" y="194"/>
                  <a:pt x="751" y="194"/>
                </a:cubicBezTo>
                <a:cubicBezTo>
                  <a:pt x="751" y="87"/>
                  <a:pt x="664" y="0"/>
                  <a:pt x="557" y="0"/>
                </a:cubicBezTo>
                <a:cubicBezTo>
                  <a:pt x="194" y="0"/>
                  <a:pt x="194" y="0"/>
                  <a:pt x="194" y="0"/>
                </a:cubicBezTo>
                <a:cubicBezTo>
                  <a:pt x="87" y="0"/>
                  <a:pt x="0" y="87"/>
                  <a:pt x="0" y="194"/>
                </a:cubicBezTo>
                <a:cubicBezTo>
                  <a:pt x="0" y="557"/>
                  <a:pt x="0" y="557"/>
                  <a:pt x="0" y="557"/>
                </a:cubicBezTo>
                <a:cubicBezTo>
                  <a:pt x="0" y="664"/>
                  <a:pt x="87" y="751"/>
                  <a:pt x="194" y="751"/>
                </a:cubicBezTo>
                <a:cubicBezTo>
                  <a:pt x="387" y="751"/>
                  <a:pt x="387" y="751"/>
                  <a:pt x="387" y="751"/>
                </a:cubicBezTo>
                <a:cubicBezTo>
                  <a:pt x="387" y="944"/>
                  <a:pt x="387" y="944"/>
                  <a:pt x="387" y="944"/>
                </a:cubicBezTo>
                <a:cubicBezTo>
                  <a:pt x="387" y="1051"/>
                  <a:pt x="474" y="1138"/>
                  <a:pt x="581" y="1138"/>
                </a:cubicBezTo>
                <a:cubicBezTo>
                  <a:pt x="944" y="1138"/>
                  <a:pt x="944" y="1138"/>
                  <a:pt x="944" y="1138"/>
                </a:cubicBezTo>
                <a:cubicBezTo>
                  <a:pt x="1051" y="1138"/>
                  <a:pt x="1138" y="1051"/>
                  <a:pt x="1138" y="944"/>
                </a:cubicBezTo>
                <a:cubicBezTo>
                  <a:pt x="1138" y="581"/>
                  <a:pt x="1138" y="581"/>
                  <a:pt x="1138" y="581"/>
                </a:cubicBezTo>
                <a:cubicBezTo>
                  <a:pt x="1138" y="474"/>
                  <a:pt x="1051" y="387"/>
                  <a:pt x="944" y="38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8" name="Group 17">
            <a:extLst>
              <a:ext uri="{FF2B5EF4-FFF2-40B4-BE49-F238E27FC236}">
                <a16:creationId xmlns:a16="http://schemas.microsoft.com/office/drawing/2014/main" id="{4B356D86-A91B-42F9-A1C8-06B343D6F9EA}"/>
              </a:ext>
            </a:extLst>
          </p:cNvPr>
          <p:cNvGrpSpPr>
            <a:grpSpLocks noChangeAspect="1"/>
          </p:cNvGrpSpPr>
          <p:nvPr/>
        </p:nvGrpSpPr>
        <p:grpSpPr bwMode="auto">
          <a:xfrm>
            <a:off x="5827100" y="2081232"/>
            <a:ext cx="642711" cy="609612"/>
            <a:chOff x="2" y="3"/>
            <a:chExt cx="2602" cy="2468"/>
          </a:xfrm>
          <a:solidFill>
            <a:srgbClr val="047CDA"/>
          </a:solidFill>
        </p:grpSpPr>
        <p:sp>
          <p:nvSpPr>
            <p:cNvPr id="60" name="Freeform 18">
              <a:extLst>
                <a:ext uri="{FF2B5EF4-FFF2-40B4-BE49-F238E27FC236}">
                  <a16:creationId xmlns:a16="http://schemas.microsoft.com/office/drawing/2014/main" id="{0BDA3F9D-9109-4FC5-9F14-88D3B583B154}"/>
                </a:ext>
              </a:extLst>
            </p:cNvPr>
            <p:cNvSpPr>
              <a:spLocks noEditPoints="1"/>
            </p:cNvSpPr>
            <p:nvPr/>
          </p:nvSpPr>
          <p:spPr bwMode="auto">
            <a:xfrm>
              <a:off x="1847" y="1712"/>
              <a:ext cx="757" cy="759"/>
            </a:xfrm>
            <a:custGeom>
              <a:avLst/>
              <a:gdLst>
                <a:gd name="T0" fmla="*/ 182 w 364"/>
                <a:gd name="T1" fmla="*/ 273 h 364"/>
                <a:gd name="T2" fmla="*/ 91 w 364"/>
                <a:gd name="T3" fmla="*/ 182 h 364"/>
                <a:gd name="T4" fmla="*/ 182 w 364"/>
                <a:gd name="T5" fmla="*/ 91 h 364"/>
                <a:gd name="T6" fmla="*/ 273 w 364"/>
                <a:gd name="T7" fmla="*/ 182 h 364"/>
                <a:gd name="T8" fmla="*/ 182 w 364"/>
                <a:gd name="T9" fmla="*/ 273 h 364"/>
                <a:gd name="T10" fmla="*/ 182 w 364"/>
                <a:gd name="T11" fmla="*/ 0 h 364"/>
                <a:gd name="T12" fmla="*/ 0 w 364"/>
                <a:gd name="T13" fmla="*/ 182 h 364"/>
                <a:gd name="T14" fmla="*/ 182 w 364"/>
                <a:gd name="T15" fmla="*/ 364 h 364"/>
                <a:gd name="T16" fmla="*/ 364 w 364"/>
                <a:gd name="T17" fmla="*/ 182 h 364"/>
                <a:gd name="T18" fmla="*/ 182 w 364"/>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273"/>
                  </a:moveTo>
                  <a:cubicBezTo>
                    <a:pt x="132" y="273"/>
                    <a:pt x="91" y="232"/>
                    <a:pt x="91" y="182"/>
                  </a:cubicBezTo>
                  <a:cubicBezTo>
                    <a:pt x="91" y="131"/>
                    <a:pt x="132" y="91"/>
                    <a:pt x="182" y="91"/>
                  </a:cubicBezTo>
                  <a:cubicBezTo>
                    <a:pt x="233" y="91"/>
                    <a:pt x="273" y="131"/>
                    <a:pt x="273" y="182"/>
                  </a:cubicBezTo>
                  <a:cubicBezTo>
                    <a:pt x="273" y="232"/>
                    <a:pt x="233" y="273"/>
                    <a:pt x="182" y="273"/>
                  </a:cubicBezTo>
                  <a:moveTo>
                    <a:pt x="182" y="0"/>
                  </a:moveTo>
                  <a:cubicBezTo>
                    <a:pt x="82" y="0"/>
                    <a:pt x="0" y="81"/>
                    <a:pt x="0" y="182"/>
                  </a:cubicBezTo>
                  <a:cubicBezTo>
                    <a:pt x="0" y="282"/>
                    <a:pt x="82" y="364"/>
                    <a:pt x="182" y="364"/>
                  </a:cubicBezTo>
                  <a:cubicBezTo>
                    <a:pt x="283" y="364"/>
                    <a:pt x="364" y="282"/>
                    <a:pt x="364" y="182"/>
                  </a:cubicBezTo>
                  <a:cubicBezTo>
                    <a:pt x="364" y="81"/>
                    <a:pt x="283"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35A4BB6F-5B3F-43ED-9835-BDCD2523540A}"/>
                </a:ext>
              </a:extLst>
            </p:cNvPr>
            <p:cNvSpPr>
              <a:spLocks noEditPoints="1"/>
            </p:cNvSpPr>
            <p:nvPr/>
          </p:nvSpPr>
          <p:spPr bwMode="auto">
            <a:xfrm>
              <a:off x="2" y="3"/>
              <a:ext cx="2594" cy="1899"/>
            </a:xfrm>
            <a:custGeom>
              <a:avLst/>
              <a:gdLst>
                <a:gd name="T0" fmla="*/ 455 w 1247"/>
                <a:gd name="T1" fmla="*/ 820 h 911"/>
                <a:gd name="T2" fmla="*/ 91 w 1247"/>
                <a:gd name="T3" fmla="*/ 455 h 911"/>
                <a:gd name="T4" fmla="*/ 455 w 1247"/>
                <a:gd name="T5" fmla="*/ 91 h 911"/>
                <a:gd name="T6" fmla="*/ 690 w 1247"/>
                <a:gd name="T7" fmla="*/ 177 h 911"/>
                <a:gd name="T8" fmla="*/ 610 w 1247"/>
                <a:gd name="T9" fmla="*/ 387 h 911"/>
                <a:gd name="T10" fmla="*/ 759 w 1247"/>
                <a:gd name="T11" fmla="*/ 656 h 911"/>
                <a:gd name="T12" fmla="*/ 455 w 1247"/>
                <a:gd name="T13" fmla="*/ 820 h 911"/>
                <a:gd name="T14" fmla="*/ 701 w 1247"/>
                <a:gd name="T15" fmla="*/ 387 h 911"/>
                <a:gd name="T16" fmla="*/ 752 w 1247"/>
                <a:gd name="T17" fmla="*/ 245 h 911"/>
                <a:gd name="T18" fmla="*/ 819 w 1247"/>
                <a:gd name="T19" fmla="*/ 455 h 911"/>
                <a:gd name="T20" fmla="*/ 799 w 1247"/>
                <a:gd name="T21" fmla="*/ 574 h 911"/>
                <a:gd name="T22" fmla="*/ 701 w 1247"/>
                <a:gd name="T23" fmla="*/ 387 h 911"/>
                <a:gd name="T24" fmla="*/ 1156 w 1247"/>
                <a:gd name="T25" fmla="*/ 387 h 911"/>
                <a:gd name="T26" fmla="*/ 929 w 1247"/>
                <a:gd name="T27" fmla="*/ 615 h 911"/>
                <a:gd name="T28" fmla="*/ 883 w 1247"/>
                <a:gd name="T29" fmla="*/ 610 h 911"/>
                <a:gd name="T30" fmla="*/ 910 w 1247"/>
                <a:gd name="T31" fmla="*/ 455 h 911"/>
                <a:gd name="T32" fmla="*/ 822 w 1247"/>
                <a:gd name="T33" fmla="*/ 187 h 911"/>
                <a:gd name="T34" fmla="*/ 929 w 1247"/>
                <a:gd name="T35" fmla="*/ 160 h 911"/>
                <a:gd name="T36" fmla="*/ 1156 w 1247"/>
                <a:gd name="T37" fmla="*/ 387 h 911"/>
                <a:gd name="T38" fmla="*/ 929 w 1247"/>
                <a:gd name="T39" fmla="*/ 706 h 911"/>
                <a:gd name="T40" fmla="*/ 1247 w 1247"/>
                <a:gd name="T41" fmla="*/ 387 h 911"/>
                <a:gd name="T42" fmla="*/ 929 w 1247"/>
                <a:gd name="T43" fmla="*/ 69 h 911"/>
                <a:gd name="T44" fmla="*/ 759 w 1247"/>
                <a:gd name="T45" fmla="*/ 118 h 911"/>
                <a:gd name="T46" fmla="*/ 455 w 1247"/>
                <a:gd name="T47" fmla="*/ 0 h 911"/>
                <a:gd name="T48" fmla="*/ 0 w 1247"/>
                <a:gd name="T49" fmla="*/ 455 h 911"/>
                <a:gd name="T50" fmla="*/ 455 w 1247"/>
                <a:gd name="T51" fmla="*/ 911 h 911"/>
                <a:gd name="T52" fmla="*/ 842 w 1247"/>
                <a:gd name="T53" fmla="*/ 694 h 911"/>
                <a:gd name="T54" fmla="*/ 929 w 1247"/>
                <a:gd name="T55" fmla="*/ 70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7" h="911">
                  <a:moveTo>
                    <a:pt x="455" y="820"/>
                  </a:moveTo>
                  <a:cubicBezTo>
                    <a:pt x="254" y="820"/>
                    <a:pt x="91" y="657"/>
                    <a:pt x="91" y="455"/>
                  </a:cubicBezTo>
                  <a:cubicBezTo>
                    <a:pt x="91" y="254"/>
                    <a:pt x="254" y="91"/>
                    <a:pt x="455" y="91"/>
                  </a:cubicBezTo>
                  <a:cubicBezTo>
                    <a:pt x="544" y="91"/>
                    <a:pt x="626" y="124"/>
                    <a:pt x="690" y="177"/>
                  </a:cubicBezTo>
                  <a:cubicBezTo>
                    <a:pt x="640" y="233"/>
                    <a:pt x="610" y="307"/>
                    <a:pt x="610" y="387"/>
                  </a:cubicBezTo>
                  <a:cubicBezTo>
                    <a:pt x="610" y="500"/>
                    <a:pt x="670" y="600"/>
                    <a:pt x="759" y="656"/>
                  </a:cubicBezTo>
                  <a:cubicBezTo>
                    <a:pt x="693" y="755"/>
                    <a:pt x="582" y="820"/>
                    <a:pt x="455" y="820"/>
                  </a:cubicBezTo>
                  <a:moveTo>
                    <a:pt x="701" y="387"/>
                  </a:moveTo>
                  <a:cubicBezTo>
                    <a:pt x="701" y="333"/>
                    <a:pt x="720" y="284"/>
                    <a:pt x="752" y="245"/>
                  </a:cubicBezTo>
                  <a:cubicBezTo>
                    <a:pt x="794" y="304"/>
                    <a:pt x="819" y="377"/>
                    <a:pt x="819" y="455"/>
                  </a:cubicBezTo>
                  <a:cubicBezTo>
                    <a:pt x="819" y="497"/>
                    <a:pt x="812" y="537"/>
                    <a:pt x="799" y="574"/>
                  </a:cubicBezTo>
                  <a:cubicBezTo>
                    <a:pt x="740" y="533"/>
                    <a:pt x="701" y="465"/>
                    <a:pt x="701" y="387"/>
                  </a:cubicBezTo>
                  <a:moveTo>
                    <a:pt x="1156" y="387"/>
                  </a:moveTo>
                  <a:cubicBezTo>
                    <a:pt x="1156" y="513"/>
                    <a:pt x="1055" y="615"/>
                    <a:pt x="929" y="615"/>
                  </a:cubicBezTo>
                  <a:cubicBezTo>
                    <a:pt x="913" y="615"/>
                    <a:pt x="898" y="613"/>
                    <a:pt x="883" y="610"/>
                  </a:cubicBezTo>
                  <a:cubicBezTo>
                    <a:pt x="900" y="562"/>
                    <a:pt x="910" y="510"/>
                    <a:pt x="910" y="455"/>
                  </a:cubicBezTo>
                  <a:cubicBezTo>
                    <a:pt x="910" y="355"/>
                    <a:pt x="877" y="262"/>
                    <a:pt x="822" y="187"/>
                  </a:cubicBezTo>
                  <a:cubicBezTo>
                    <a:pt x="854" y="169"/>
                    <a:pt x="890" y="160"/>
                    <a:pt x="929" y="160"/>
                  </a:cubicBezTo>
                  <a:cubicBezTo>
                    <a:pt x="1055" y="160"/>
                    <a:pt x="1156" y="262"/>
                    <a:pt x="1156" y="387"/>
                  </a:cubicBezTo>
                  <a:moveTo>
                    <a:pt x="929" y="706"/>
                  </a:moveTo>
                  <a:cubicBezTo>
                    <a:pt x="1105" y="706"/>
                    <a:pt x="1247" y="563"/>
                    <a:pt x="1247" y="387"/>
                  </a:cubicBezTo>
                  <a:cubicBezTo>
                    <a:pt x="1247" y="211"/>
                    <a:pt x="1105" y="69"/>
                    <a:pt x="929" y="69"/>
                  </a:cubicBezTo>
                  <a:cubicBezTo>
                    <a:pt x="866" y="69"/>
                    <a:pt x="808" y="87"/>
                    <a:pt x="759" y="118"/>
                  </a:cubicBezTo>
                  <a:cubicBezTo>
                    <a:pt x="679" y="45"/>
                    <a:pt x="572" y="0"/>
                    <a:pt x="455" y="0"/>
                  </a:cubicBezTo>
                  <a:cubicBezTo>
                    <a:pt x="204" y="0"/>
                    <a:pt x="0" y="204"/>
                    <a:pt x="0" y="455"/>
                  </a:cubicBezTo>
                  <a:cubicBezTo>
                    <a:pt x="0" y="707"/>
                    <a:pt x="204" y="911"/>
                    <a:pt x="455" y="911"/>
                  </a:cubicBezTo>
                  <a:cubicBezTo>
                    <a:pt x="619" y="911"/>
                    <a:pt x="762" y="824"/>
                    <a:pt x="842" y="694"/>
                  </a:cubicBezTo>
                  <a:cubicBezTo>
                    <a:pt x="870" y="701"/>
                    <a:pt x="899" y="706"/>
                    <a:pt x="929" y="7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Freeform 23">
            <a:extLst>
              <a:ext uri="{FF2B5EF4-FFF2-40B4-BE49-F238E27FC236}">
                <a16:creationId xmlns:a16="http://schemas.microsoft.com/office/drawing/2014/main" id="{A11C8871-D569-4613-AB3C-4CC03EA5F20A}"/>
              </a:ext>
            </a:extLst>
          </p:cNvPr>
          <p:cNvSpPr>
            <a:spLocks noEditPoints="1"/>
          </p:cNvSpPr>
          <p:nvPr/>
        </p:nvSpPr>
        <p:spPr bwMode="auto">
          <a:xfrm>
            <a:off x="9472458" y="4427400"/>
            <a:ext cx="723964" cy="665408"/>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5" name="Group 26">
            <a:extLst>
              <a:ext uri="{FF2B5EF4-FFF2-40B4-BE49-F238E27FC236}">
                <a16:creationId xmlns:a16="http://schemas.microsoft.com/office/drawing/2014/main" id="{6FDA9596-0D30-469B-B6F1-7EDD66C6F3FB}"/>
              </a:ext>
            </a:extLst>
          </p:cNvPr>
          <p:cNvGrpSpPr>
            <a:grpSpLocks noChangeAspect="1"/>
          </p:cNvGrpSpPr>
          <p:nvPr/>
        </p:nvGrpSpPr>
        <p:grpSpPr bwMode="auto">
          <a:xfrm>
            <a:off x="2062634" y="4484210"/>
            <a:ext cx="571297" cy="596442"/>
            <a:chOff x="2" y="0"/>
            <a:chExt cx="2272" cy="2372"/>
          </a:xfrm>
          <a:solidFill>
            <a:srgbClr val="047CDA"/>
          </a:solidFill>
        </p:grpSpPr>
        <p:sp>
          <p:nvSpPr>
            <p:cNvPr id="66" name="Freeform 27">
              <a:extLst>
                <a:ext uri="{FF2B5EF4-FFF2-40B4-BE49-F238E27FC236}">
                  <a16:creationId xmlns:a16="http://schemas.microsoft.com/office/drawing/2014/main" id="{E05CECBF-A17A-4962-BED0-EB8029791CE8}"/>
                </a:ext>
              </a:extLst>
            </p:cNvPr>
            <p:cNvSpPr>
              <a:spLocks noEditPoints="1"/>
            </p:cNvSpPr>
            <p:nvPr/>
          </p:nvSpPr>
          <p:spPr bwMode="auto">
            <a:xfrm>
              <a:off x="2" y="0"/>
              <a:ext cx="2272" cy="2372"/>
            </a:xfrm>
            <a:custGeom>
              <a:avLst/>
              <a:gdLst>
                <a:gd name="T0" fmla="*/ 0 w 2272"/>
                <a:gd name="T1" fmla="*/ 0 h 2372"/>
                <a:gd name="T2" fmla="*/ 0 w 2272"/>
                <a:gd name="T3" fmla="*/ 1897 h 2372"/>
                <a:gd name="T4" fmla="*/ 710 w 2272"/>
                <a:gd name="T5" fmla="*/ 1897 h 2372"/>
                <a:gd name="T6" fmla="*/ 1136 w 2272"/>
                <a:gd name="T7" fmla="*/ 2372 h 2372"/>
                <a:gd name="T8" fmla="*/ 1563 w 2272"/>
                <a:gd name="T9" fmla="*/ 1897 h 2372"/>
                <a:gd name="T10" fmla="*/ 2272 w 2272"/>
                <a:gd name="T11" fmla="*/ 1897 h 2372"/>
                <a:gd name="T12" fmla="*/ 2272 w 2272"/>
                <a:gd name="T13" fmla="*/ 0 h 2372"/>
                <a:gd name="T14" fmla="*/ 0 w 2272"/>
                <a:gd name="T15" fmla="*/ 0 h 2372"/>
                <a:gd name="T16" fmla="*/ 189 w 2272"/>
                <a:gd name="T17" fmla="*/ 190 h 2372"/>
                <a:gd name="T18" fmla="*/ 2083 w 2272"/>
                <a:gd name="T19" fmla="*/ 190 h 2372"/>
                <a:gd name="T20" fmla="*/ 2083 w 2272"/>
                <a:gd name="T21" fmla="*/ 1707 h 2372"/>
                <a:gd name="T22" fmla="*/ 1563 w 2272"/>
                <a:gd name="T23" fmla="*/ 1707 h 2372"/>
                <a:gd name="T24" fmla="*/ 1477 w 2272"/>
                <a:gd name="T25" fmla="*/ 1707 h 2372"/>
                <a:gd name="T26" fmla="*/ 1421 w 2272"/>
                <a:gd name="T27" fmla="*/ 1770 h 2372"/>
                <a:gd name="T28" fmla="*/ 1136 w 2272"/>
                <a:gd name="T29" fmla="*/ 2089 h 2372"/>
                <a:gd name="T30" fmla="*/ 851 w 2272"/>
                <a:gd name="T31" fmla="*/ 1770 h 2372"/>
                <a:gd name="T32" fmla="*/ 795 w 2272"/>
                <a:gd name="T33" fmla="*/ 1707 h 2372"/>
                <a:gd name="T34" fmla="*/ 710 w 2272"/>
                <a:gd name="T35" fmla="*/ 1707 h 2372"/>
                <a:gd name="T36" fmla="*/ 189 w 2272"/>
                <a:gd name="T37" fmla="*/ 1707 h 2372"/>
                <a:gd name="T38" fmla="*/ 189 w 2272"/>
                <a:gd name="T39" fmla="*/ 190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2" h="2372">
                  <a:moveTo>
                    <a:pt x="0" y="0"/>
                  </a:moveTo>
                  <a:lnTo>
                    <a:pt x="0" y="1897"/>
                  </a:lnTo>
                  <a:lnTo>
                    <a:pt x="710" y="1897"/>
                  </a:lnTo>
                  <a:lnTo>
                    <a:pt x="1136" y="2372"/>
                  </a:lnTo>
                  <a:lnTo>
                    <a:pt x="1563" y="1897"/>
                  </a:lnTo>
                  <a:lnTo>
                    <a:pt x="2272" y="1897"/>
                  </a:lnTo>
                  <a:lnTo>
                    <a:pt x="2272" y="0"/>
                  </a:lnTo>
                  <a:lnTo>
                    <a:pt x="0" y="0"/>
                  </a:lnTo>
                  <a:close/>
                  <a:moveTo>
                    <a:pt x="189" y="190"/>
                  </a:moveTo>
                  <a:lnTo>
                    <a:pt x="2083" y="190"/>
                  </a:lnTo>
                  <a:lnTo>
                    <a:pt x="2083" y="1707"/>
                  </a:lnTo>
                  <a:lnTo>
                    <a:pt x="1563" y="1707"/>
                  </a:lnTo>
                  <a:lnTo>
                    <a:pt x="1477" y="1707"/>
                  </a:lnTo>
                  <a:lnTo>
                    <a:pt x="1421" y="1770"/>
                  </a:lnTo>
                  <a:lnTo>
                    <a:pt x="1136" y="2089"/>
                  </a:lnTo>
                  <a:lnTo>
                    <a:pt x="851" y="1770"/>
                  </a:lnTo>
                  <a:lnTo>
                    <a:pt x="795" y="1707"/>
                  </a:lnTo>
                  <a:lnTo>
                    <a:pt x="710" y="1707"/>
                  </a:lnTo>
                  <a:lnTo>
                    <a:pt x="189" y="1707"/>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8">
              <a:extLst>
                <a:ext uri="{FF2B5EF4-FFF2-40B4-BE49-F238E27FC236}">
                  <a16:creationId xmlns:a16="http://schemas.microsoft.com/office/drawing/2014/main" id="{4F1DFDB5-B471-4F2B-8208-0EF2F9E0FF8E}"/>
                </a:ext>
              </a:extLst>
            </p:cNvPr>
            <p:cNvSpPr>
              <a:spLocks/>
            </p:cNvSpPr>
            <p:nvPr/>
          </p:nvSpPr>
          <p:spPr bwMode="auto">
            <a:xfrm>
              <a:off x="736" y="569"/>
              <a:ext cx="804" cy="765"/>
            </a:xfrm>
            <a:custGeom>
              <a:avLst/>
              <a:gdLst>
                <a:gd name="T0" fmla="*/ 402 w 804"/>
                <a:gd name="T1" fmla="*/ 0 h 765"/>
                <a:gd name="T2" fmla="*/ 498 w 804"/>
                <a:gd name="T3" fmla="*/ 292 h 765"/>
                <a:gd name="T4" fmla="*/ 804 w 804"/>
                <a:gd name="T5" fmla="*/ 292 h 765"/>
                <a:gd name="T6" fmla="*/ 556 w 804"/>
                <a:gd name="T7" fmla="*/ 473 h 765"/>
                <a:gd name="T8" fmla="*/ 652 w 804"/>
                <a:gd name="T9" fmla="*/ 765 h 765"/>
                <a:gd name="T10" fmla="*/ 402 w 804"/>
                <a:gd name="T11" fmla="*/ 586 h 765"/>
                <a:gd name="T12" fmla="*/ 152 w 804"/>
                <a:gd name="T13" fmla="*/ 765 h 765"/>
                <a:gd name="T14" fmla="*/ 248 w 804"/>
                <a:gd name="T15" fmla="*/ 473 h 765"/>
                <a:gd name="T16" fmla="*/ 0 w 804"/>
                <a:gd name="T17" fmla="*/ 292 h 765"/>
                <a:gd name="T18" fmla="*/ 306 w 804"/>
                <a:gd name="T19" fmla="*/ 292 h 765"/>
                <a:gd name="T20" fmla="*/ 402 w 804"/>
                <a:gd name="T2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765">
                  <a:moveTo>
                    <a:pt x="402" y="0"/>
                  </a:moveTo>
                  <a:lnTo>
                    <a:pt x="498" y="292"/>
                  </a:lnTo>
                  <a:lnTo>
                    <a:pt x="804" y="292"/>
                  </a:lnTo>
                  <a:lnTo>
                    <a:pt x="556" y="473"/>
                  </a:lnTo>
                  <a:lnTo>
                    <a:pt x="652" y="765"/>
                  </a:lnTo>
                  <a:lnTo>
                    <a:pt x="402" y="586"/>
                  </a:lnTo>
                  <a:lnTo>
                    <a:pt x="152" y="765"/>
                  </a:lnTo>
                  <a:lnTo>
                    <a:pt x="248" y="473"/>
                  </a:lnTo>
                  <a:lnTo>
                    <a:pt x="0" y="292"/>
                  </a:lnTo>
                  <a:lnTo>
                    <a:pt x="306" y="292"/>
                  </a:ln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16883735-26E6-401E-83CF-141732C44F3A}"/>
              </a:ext>
            </a:extLst>
          </p:cNvPr>
          <p:cNvGrpSpPr/>
          <p:nvPr/>
        </p:nvGrpSpPr>
        <p:grpSpPr>
          <a:xfrm>
            <a:off x="864" y="254613"/>
            <a:ext cx="1188839" cy="956985"/>
            <a:chOff x="864" y="254613"/>
            <a:chExt cx="1188839" cy="956985"/>
          </a:xfrm>
        </p:grpSpPr>
        <p:sp>
          <p:nvSpPr>
            <p:cNvPr id="44" name="Rectangle 43"/>
            <p:cNvSpPr/>
            <p:nvPr/>
          </p:nvSpPr>
          <p:spPr bwMode="auto">
            <a:xfrm>
              <a:off x="864" y="254613"/>
              <a:ext cx="1188839" cy="9569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1609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additive="base">
                                        <p:cTn id="12" dur="500" fill="hold"/>
                                        <p:tgtEl>
                                          <p:spTgt spid="47"/>
                                        </p:tgtEl>
                                        <p:attrNameLst>
                                          <p:attrName>ppt_x</p:attrName>
                                        </p:attrNameLst>
                                      </p:cBhvr>
                                      <p:tavLst>
                                        <p:tav tm="0">
                                          <p:val>
                                            <p:strVal val="0-#ppt_w/2"/>
                                          </p:val>
                                        </p:tav>
                                        <p:tav tm="100000">
                                          <p:val>
                                            <p:strVal val="#ppt_x"/>
                                          </p:val>
                                        </p:tav>
                                      </p:tavLst>
                                    </p:anim>
                                    <p:anim calcmode="lin" valueType="num">
                                      <p:cBhvr additive="base">
                                        <p:cTn id="13" dur="500" fill="hold"/>
                                        <p:tgtEl>
                                          <p:spTgt spid="47"/>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 calcmode="lin" valueType="num">
                                      <p:cBhvr>
                                        <p:cTn id="16" dur="500" fill="hold"/>
                                        <p:tgtEl>
                                          <p:spTgt spid="53"/>
                                        </p:tgtEl>
                                        <p:attrNameLst>
                                          <p:attrName>ppt_w</p:attrName>
                                        </p:attrNameLst>
                                      </p:cBhvr>
                                      <p:tavLst>
                                        <p:tav tm="0">
                                          <p:val>
                                            <p:fltVal val="0"/>
                                          </p:val>
                                        </p:tav>
                                        <p:tav tm="100000">
                                          <p:val>
                                            <p:strVal val="#ppt_w"/>
                                          </p:val>
                                        </p:tav>
                                      </p:tavLst>
                                    </p:anim>
                                    <p:anim calcmode="lin" valueType="num">
                                      <p:cBhvr>
                                        <p:cTn id="17" dur="500" fill="hold"/>
                                        <p:tgtEl>
                                          <p:spTgt spid="53"/>
                                        </p:tgtEl>
                                        <p:attrNameLst>
                                          <p:attrName>ppt_h</p:attrName>
                                        </p:attrNameLst>
                                      </p:cBhvr>
                                      <p:tavLst>
                                        <p:tav tm="0">
                                          <p:val>
                                            <p:fltVal val="0"/>
                                          </p:val>
                                        </p:tav>
                                        <p:tav tm="100000">
                                          <p:val>
                                            <p:strVal val="#ppt_h"/>
                                          </p:val>
                                        </p:tav>
                                      </p:tavLst>
                                    </p:anim>
                                    <p:animEffect transition="in" filter="fade">
                                      <p:cBhvr>
                                        <p:cTn id="18" dur="500"/>
                                        <p:tgtEl>
                                          <p:spTgt spid="53"/>
                                        </p:tgtEl>
                                      </p:cBhvr>
                                    </p:animEffect>
                                  </p:childTnLst>
                                </p:cTn>
                              </p:par>
                              <p:par>
                                <p:cTn id="19" presetID="53" presetClass="entr" presetSubtype="16"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 calcmode="lin" valueType="num">
                                      <p:cBhvr>
                                        <p:cTn id="21" dur="500" fill="hold"/>
                                        <p:tgtEl>
                                          <p:spTgt spid="58"/>
                                        </p:tgtEl>
                                        <p:attrNameLst>
                                          <p:attrName>ppt_w</p:attrName>
                                        </p:attrNameLst>
                                      </p:cBhvr>
                                      <p:tavLst>
                                        <p:tav tm="0">
                                          <p:val>
                                            <p:fltVal val="0"/>
                                          </p:val>
                                        </p:tav>
                                        <p:tav tm="100000">
                                          <p:val>
                                            <p:strVal val="#ppt_w"/>
                                          </p:val>
                                        </p:tav>
                                      </p:tavLst>
                                    </p:anim>
                                    <p:anim calcmode="lin" valueType="num">
                                      <p:cBhvr>
                                        <p:cTn id="22" dur="500" fill="hold"/>
                                        <p:tgtEl>
                                          <p:spTgt spid="58"/>
                                        </p:tgtEl>
                                        <p:attrNameLst>
                                          <p:attrName>ppt_h</p:attrName>
                                        </p:attrNameLst>
                                      </p:cBhvr>
                                      <p:tavLst>
                                        <p:tav tm="0">
                                          <p:val>
                                            <p:fltVal val="0"/>
                                          </p:val>
                                        </p:tav>
                                        <p:tav tm="100000">
                                          <p:val>
                                            <p:strVal val="#ppt_h"/>
                                          </p:val>
                                        </p:tav>
                                      </p:tavLst>
                                    </p:anim>
                                    <p:animEffect transition="in" filter="fade">
                                      <p:cBhvr>
                                        <p:cTn id="23" dur="500"/>
                                        <p:tgtEl>
                                          <p:spTgt spid="58"/>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 calcmode="lin" valueType="num">
                                      <p:cBhvr>
                                        <p:cTn id="26" dur="500" fill="hold"/>
                                        <p:tgtEl>
                                          <p:spTgt spid="57"/>
                                        </p:tgtEl>
                                        <p:attrNameLst>
                                          <p:attrName>ppt_w</p:attrName>
                                        </p:attrNameLst>
                                      </p:cBhvr>
                                      <p:tavLst>
                                        <p:tav tm="0">
                                          <p:val>
                                            <p:fltVal val="0"/>
                                          </p:val>
                                        </p:tav>
                                        <p:tav tm="100000">
                                          <p:val>
                                            <p:strVal val="#ppt_w"/>
                                          </p:val>
                                        </p:tav>
                                      </p:tavLst>
                                    </p:anim>
                                    <p:anim calcmode="lin" valueType="num">
                                      <p:cBhvr>
                                        <p:cTn id="27" dur="500" fill="hold"/>
                                        <p:tgtEl>
                                          <p:spTgt spid="57"/>
                                        </p:tgtEl>
                                        <p:attrNameLst>
                                          <p:attrName>ppt_h</p:attrName>
                                        </p:attrNameLst>
                                      </p:cBhvr>
                                      <p:tavLst>
                                        <p:tav tm="0">
                                          <p:val>
                                            <p:fltVal val="0"/>
                                          </p:val>
                                        </p:tav>
                                        <p:tav tm="100000">
                                          <p:val>
                                            <p:strVal val="#ppt_h"/>
                                          </p:val>
                                        </p:tav>
                                      </p:tavLst>
                                    </p:anim>
                                    <p:animEffect transition="in" filter="fade">
                                      <p:cBhvr>
                                        <p:cTn id="28" dur="500"/>
                                        <p:tgtEl>
                                          <p:spTgt spid="57"/>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 calcmode="lin" valueType="num">
                                      <p:cBhvr>
                                        <p:cTn id="31" dur="500" fill="hold"/>
                                        <p:tgtEl>
                                          <p:spTgt spid="63"/>
                                        </p:tgtEl>
                                        <p:attrNameLst>
                                          <p:attrName>ppt_w</p:attrName>
                                        </p:attrNameLst>
                                      </p:cBhvr>
                                      <p:tavLst>
                                        <p:tav tm="0">
                                          <p:val>
                                            <p:fltVal val="0"/>
                                          </p:val>
                                        </p:tav>
                                        <p:tav tm="100000">
                                          <p:val>
                                            <p:strVal val="#ppt_w"/>
                                          </p:val>
                                        </p:tav>
                                      </p:tavLst>
                                    </p:anim>
                                    <p:anim calcmode="lin" valueType="num">
                                      <p:cBhvr>
                                        <p:cTn id="32" dur="500" fill="hold"/>
                                        <p:tgtEl>
                                          <p:spTgt spid="63"/>
                                        </p:tgtEl>
                                        <p:attrNameLst>
                                          <p:attrName>ppt_h</p:attrName>
                                        </p:attrNameLst>
                                      </p:cBhvr>
                                      <p:tavLst>
                                        <p:tav tm="0">
                                          <p:val>
                                            <p:fltVal val="0"/>
                                          </p:val>
                                        </p:tav>
                                        <p:tav tm="100000">
                                          <p:val>
                                            <p:strVal val="#ppt_h"/>
                                          </p:val>
                                        </p:tav>
                                      </p:tavLst>
                                    </p:anim>
                                    <p:animEffect transition="in" filter="fade">
                                      <p:cBhvr>
                                        <p:cTn id="33" dur="500"/>
                                        <p:tgtEl>
                                          <p:spTgt spid="63"/>
                                        </p:tgtEl>
                                      </p:cBhvr>
                                    </p:animEffect>
                                  </p:childTnLst>
                                </p:cTn>
                              </p:par>
                              <p:par>
                                <p:cTn id="34" presetID="53" presetClass="entr" presetSubtype="16" fill="hold" nodeType="withEffect">
                                  <p:stCondLst>
                                    <p:cond delay="0"/>
                                  </p:stCondLst>
                                  <p:childTnLst>
                                    <p:set>
                                      <p:cBhvr>
                                        <p:cTn id="35" dur="1" fill="hold">
                                          <p:stCondLst>
                                            <p:cond delay="0"/>
                                          </p:stCondLst>
                                        </p:cTn>
                                        <p:tgtEl>
                                          <p:spTgt spid="54"/>
                                        </p:tgtEl>
                                        <p:attrNameLst>
                                          <p:attrName>style.visibility</p:attrName>
                                        </p:attrNameLst>
                                      </p:cBhvr>
                                      <p:to>
                                        <p:strVal val="visible"/>
                                      </p:to>
                                    </p:set>
                                    <p:anim calcmode="lin" valueType="num">
                                      <p:cBhvr>
                                        <p:cTn id="36" dur="500" fill="hold"/>
                                        <p:tgtEl>
                                          <p:spTgt spid="54"/>
                                        </p:tgtEl>
                                        <p:attrNameLst>
                                          <p:attrName>ppt_w</p:attrName>
                                        </p:attrNameLst>
                                      </p:cBhvr>
                                      <p:tavLst>
                                        <p:tav tm="0">
                                          <p:val>
                                            <p:fltVal val="0"/>
                                          </p:val>
                                        </p:tav>
                                        <p:tav tm="100000">
                                          <p:val>
                                            <p:strVal val="#ppt_w"/>
                                          </p:val>
                                        </p:tav>
                                      </p:tavLst>
                                    </p:anim>
                                    <p:anim calcmode="lin" valueType="num">
                                      <p:cBhvr>
                                        <p:cTn id="37" dur="500" fill="hold"/>
                                        <p:tgtEl>
                                          <p:spTgt spid="54"/>
                                        </p:tgtEl>
                                        <p:attrNameLst>
                                          <p:attrName>ppt_h</p:attrName>
                                        </p:attrNameLst>
                                      </p:cBhvr>
                                      <p:tavLst>
                                        <p:tav tm="0">
                                          <p:val>
                                            <p:fltVal val="0"/>
                                          </p:val>
                                        </p:tav>
                                        <p:tav tm="100000">
                                          <p:val>
                                            <p:strVal val="#ppt_h"/>
                                          </p:val>
                                        </p:tav>
                                      </p:tavLst>
                                    </p:anim>
                                    <p:animEffect transition="in" filter="fade">
                                      <p:cBhvr>
                                        <p:cTn id="38" dur="500"/>
                                        <p:tgtEl>
                                          <p:spTgt spid="54"/>
                                        </p:tgtEl>
                                      </p:cBhvr>
                                    </p:animEffect>
                                  </p:childTnLst>
                                </p:cTn>
                              </p:par>
                              <p:par>
                                <p:cTn id="39" presetID="53" presetClass="entr" presetSubtype="16"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anim calcmode="lin" valueType="num">
                                      <p:cBhvr>
                                        <p:cTn id="41" dur="500" fill="hold"/>
                                        <p:tgtEl>
                                          <p:spTgt spid="65"/>
                                        </p:tgtEl>
                                        <p:attrNameLst>
                                          <p:attrName>ppt_w</p:attrName>
                                        </p:attrNameLst>
                                      </p:cBhvr>
                                      <p:tavLst>
                                        <p:tav tm="0">
                                          <p:val>
                                            <p:fltVal val="0"/>
                                          </p:val>
                                        </p:tav>
                                        <p:tav tm="100000">
                                          <p:val>
                                            <p:strVal val="#ppt_w"/>
                                          </p:val>
                                        </p:tav>
                                      </p:tavLst>
                                    </p:anim>
                                    <p:anim calcmode="lin" valueType="num">
                                      <p:cBhvr>
                                        <p:cTn id="42" dur="500" fill="hold"/>
                                        <p:tgtEl>
                                          <p:spTgt spid="65"/>
                                        </p:tgtEl>
                                        <p:attrNameLst>
                                          <p:attrName>ppt_h</p:attrName>
                                        </p:attrNameLst>
                                      </p:cBhvr>
                                      <p:tavLst>
                                        <p:tav tm="0">
                                          <p:val>
                                            <p:fltVal val="0"/>
                                          </p:val>
                                        </p:tav>
                                        <p:tav tm="100000">
                                          <p:val>
                                            <p:strVal val="#ppt_h"/>
                                          </p:val>
                                        </p:tav>
                                      </p:tavLst>
                                    </p:anim>
                                    <p:animEffect transition="in" filter="fade">
                                      <p:cBhvr>
                                        <p:cTn id="43" dur="500"/>
                                        <p:tgtEl>
                                          <p:spTgt spid="65"/>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animEffect transition="in" filter="fade">
                                      <p:cBhvr>
                                        <p:cTn id="53" dur="500"/>
                                        <p:tgtEl>
                                          <p:spTgt spid="10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0"/>
                                        </p:tgtEl>
                                        <p:attrNameLst>
                                          <p:attrName>style.visibility</p:attrName>
                                        </p:attrNameLst>
                                      </p:cBhvr>
                                      <p:to>
                                        <p:strVal val="visible"/>
                                      </p:to>
                                    </p:set>
                                    <p:animEffect transition="in" filter="fade">
                                      <p:cBhvr>
                                        <p:cTn id="56" dur="500"/>
                                        <p:tgtEl>
                                          <p:spTgt spid="10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7"/>
                                        </p:tgtEl>
                                        <p:attrNameLst>
                                          <p:attrName>style.visibility</p:attrName>
                                        </p:attrNameLst>
                                      </p:cBhvr>
                                      <p:to>
                                        <p:strVal val="visible"/>
                                      </p:to>
                                    </p:set>
                                    <p:animEffect transition="in" filter="fade">
                                      <p:cBhvr>
                                        <p:cTn id="59" dur="500"/>
                                        <p:tgtEl>
                                          <p:spTgt spid="9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8"/>
                                        </p:tgtEl>
                                        <p:attrNameLst>
                                          <p:attrName>style.visibility</p:attrName>
                                        </p:attrNameLst>
                                      </p:cBhvr>
                                      <p:to>
                                        <p:strVal val="visible"/>
                                      </p:to>
                                    </p:set>
                                    <p:animEffect transition="in" filter="fade">
                                      <p:cBhvr>
                                        <p:cTn id="62" dur="500"/>
                                        <p:tgtEl>
                                          <p:spTgt spid="9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92"/>
                                        </p:tgtEl>
                                        <p:attrNameLst>
                                          <p:attrName>style.visibility</p:attrName>
                                        </p:attrNameLst>
                                      </p:cBhvr>
                                      <p:to>
                                        <p:strVal val="visible"/>
                                      </p:to>
                                    </p:set>
                                    <p:animEffect transition="in" filter="fade">
                                      <p:cBhvr>
                                        <p:cTn id="65" dur="500"/>
                                        <p:tgtEl>
                                          <p:spTgt spid="9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fade">
                                      <p:cBhvr>
                                        <p:cTn id="68" dur="500"/>
                                        <p:tgtEl>
                                          <p:spTgt spid="9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9"/>
                                        </p:tgtEl>
                                        <p:attrNameLst>
                                          <p:attrName>style.visibility</p:attrName>
                                        </p:attrNameLst>
                                      </p:cBhvr>
                                      <p:to>
                                        <p:strVal val="visible"/>
                                      </p:to>
                                    </p:set>
                                    <p:animEffect transition="in" filter="fade">
                                      <p:cBhvr>
                                        <p:cTn id="74" dur="500"/>
                                        <p:tgtEl>
                                          <p:spTgt spid="5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5"/>
                                        </p:tgtEl>
                                        <p:attrNameLst>
                                          <p:attrName>style.visibility</p:attrName>
                                        </p:attrNameLst>
                                      </p:cBhvr>
                                      <p:to>
                                        <p:strVal val="visible"/>
                                      </p:to>
                                    </p:set>
                                    <p:animEffect transition="in" filter="fade">
                                      <p:cBhvr>
                                        <p:cTn id="77" dur="500"/>
                                        <p:tgtEl>
                                          <p:spTgt spid="4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91" grpId="0"/>
      <p:bldP spid="92" grpId="0"/>
      <p:bldP spid="97" grpId="0"/>
      <p:bldP spid="98" grpId="0"/>
      <p:bldP spid="100" grpId="0"/>
      <p:bldP spid="101" grpId="0"/>
      <p:bldP spid="59" grpId="0"/>
      <p:bldP spid="61" grpId="0"/>
      <p:bldP spid="64" grpId="0"/>
      <p:bldP spid="69" grpId="0"/>
      <p:bldP spid="43" grpId="0"/>
      <p:bldP spid="45" grpId="0"/>
      <p:bldP spid="53" grpId="0" animBg="1"/>
      <p:bldP spid="57" grpId="0" animBg="1"/>
      <p:bldP spid="6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earch</a:t>
            </a:r>
            <a:endParaRPr lang="en-US" sz="4611">
              <a:gradFill>
                <a:gsLst>
                  <a:gs pos="1250">
                    <a:srgbClr val="353535"/>
                  </a:gs>
                  <a:gs pos="100000">
                    <a:srgbClr val="353535"/>
                  </a:gs>
                </a:gsLst>
                <a:lin ang="5400000" scaled="0"/>
              </a:gradFill>
              <a:latin typeface="Segoe UI Light"/>
            </a:endParaRPr>
          </a:p>
        </p:txBody>
      </p:sp>
      <p:sp>
        <p:nvSpPr>
          <p:cNvPr id="51" name="Rectangle 50"/>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TextBox 61">
            <a:extLst/>
          </p:cNvPr>
          <p:cNvSpPr txBox="1"/>
          <p:nvPr/>
        </p:nvSpPr>
        <p:spPr>
          <a:xfrm>
            <a:off x="3178060" y="5161189"/>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Autosuggest API</a:t>
            </a:r>
          </a:p>
        </p:txBody>
      </p:sp>
      <p:sp>
        <p:nvSpPr>
          <p:cNvPr id="63" name="Rectangle 62">
            <a:extLst/>
          </p:cNvPr>
          <p:cNvSpPr/>
          <p:nvPr/>
        </p:nvSpPr>
        <p:spPr>
          <a:xfrm>
            <a:off x="3051850" y="5594144"/>
            <a:ext cx="2940141"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Web Search API</a:t>
            </a:r>
          </a:p>
        </p:txBody>
      </p:sp>
      <p:sp>
        <p:nvSpPr>
          <p:cNvPr id="65" name="Rectangle 64">
            <a:extLst/>
          </p:cNvPr>
          <p:cNvSpPr/>
          <p:nvPr/>
        </p:nvSpPr>
        <p:spPr>
          <a:xfrm>
            <a:off x="1395775"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nect powerful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 to your apps</a:t>
            </a:r>
          </a:p>
        </p:txBody>
      </p:sp>
      <p:sp>
        <p:nvSpPr>
          <p:cNvPr id="66" name="TextBox 65">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Image Search API</a:t>
            </a:r>
          </a:p>
        </p:txBody>
      </p:sp>
      <p:sp>
        <p:nvSpPr>
          <p:cNvPr id="67" name="Rectangle 66">
            <a:extLst/>
          </p:cNvPr>
          <p:cNvSpPr/>
          <p:nvPr/>
        </p:nvSpPr>
        <p:spPr>
          <a:xfrm>
            <a:off x="4826220"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ring advanced image and metadata search to your app</a:t>
            </a:r>
          </a:p>
        </p:txBody>
      </p:sp>
      <p:sp>
        <p:nvSpPr>
          <p:cNvPr id="68" name="TextBox 67">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Video Search API</a:t>
            </a:r>
          </a:p>
        </p:txBody>
      </p:sp>
      <p:sp>
        <p:nvSpPr>
          <p:cNvPr id="69" name="Rectangle 68">
            <a:extLst/>
          </p:cNvPr>
          <p:cNvSpPr/>
          <p:nvPr/>
        </p:nvSpPr>
        <p:spPr>
          <a:xfrm>
            <a:off x="8220330" y="3279303"/>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ending videos, detailed metadata, and rich results</a:t>
            </a:r>
          </a:p>
        </p:txBody>
      </p:sp>
      <p:sp>
        <p:nvSpPr>
          <p:cNvPr id="70" name="TextBox 69">
            <a:extLst/>
          </p:cNvPr>
          <p:cNvSpPr txBox="1"/>
          <p:nvPr/>
        </p:nvSpPr>
        <p:spPr>
          <a:xfrm>
            <a:off x="6376" y="5191034"/>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News Search API</a:t>
            </a:r>
          </a:p>
        </p:txBody>
      </p:sp>
      <p:sp>
        <p:nvSpPr>
          <p:cNvPr id="71" name="Rectangle 70">
            <a:extLst/>
          </p:cNvPr>
          <p:cNvSpPr/>
          <p:nvPr/>
        </p:nvSpPr>
        <p:spPr>
          <a:xfrm>
            <a:off x="64120" y="5623989"/>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k your users to robus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imely news searches</a:t>
            </a:r>
          </a:p>
        </p:txBody>
      </p:sp>
      <p:sp>
        <p:nvSpPr>
          <p:cNvPr id="72" name="Rectangle 71">
            <a:extLst/>
          </p:cNvPr>
          <p:cNvSpPr/>
          <p:nvPr/>
        </p:nvSpPr>
        <p:spPr>
          <a:xfrm>
            <a:off x="9442672" y="5623989"/>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a highly-customiz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9581232"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Custom Search</a:t>
            </a:r>
          </a:p>
        </p:txBody>
      </p:sp>
      <p:sp>
        <p:nvSpPr>
          <p:cNvPr id="43" name="Rectangle 42">
            <a:extLst/>
          </p:cNvPr>
          <p:cNvSpPr/>
          <p:nvPr/>
        </p:nvSpPr>
        <p:spPr>
          <a:xfrm>
            <a:off x="6485505" y="5623990"/>
            <a:ext cx="2688892" cy="487756"/>
          </a:xfrm>
          <a:prstGeom prst="rect">
            <a:avLst/>
          </a:prstGeom>
        </p:spPr>
        <p:txBody>
          <a:bodyPr wrap="square">
            <a:spAutoFit/>
          </a:bodyPr>
          <a:lstStyle/>
          <a:p>
            <a:pPr algn="ctr" defTabSz="914139">
              <a:lnSpc>
                <a:spcPct val="90000"/>
              </a:lnSpc>
              <a:spcAft>
                <a:spcPts val="575"/>
              </a:spcAft>
              <a:defRPr/>
            </a:pPr>
            <a:r>
              <a:rPr lang="en-US" sz="1400" dirty="0">
                <a:solidFill>
                  <a:srgbClr val="3F3F3F"/>
                </a:solidFill>
                <a:latin typeface="Segoe UI"/>
              </a:rPr>
              <a:t>Enrich user experiences with contextual entity search results</a:t>
            </a:r>
            <a:endParaRPr lang="en-US" sz="1371" dirty="0">
              <a:solidFill>
                <a:srgbClr val="3F3F3F"/>
              </a:soli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6624065"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192388" y="4483446"/>
            <a:ext cx="675515" cy="226935"/>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10482621" y="4314617"/>
            <a:ext cx="571579" cy="587383"/>
            <a:chOff x="-2" y="0"/>
            <a:chExt cx="2170" cy="2230"/>
          </a:xfrm>
          <a:solidFill>
            <a:srgbClr val="047CDA"/>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7583100" y="4198196"/>
            <a:ext cx="507097" cy="604439"/>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7">
            <a:extLst>
              <a:ext uri="{FF2B5EF4-FFF2-40B4-BE49-F238E27FC236}">
                <a16:creationId xmlns:a16="http://schemas.microsoft.com/office/drawing/2014/main" id="{5D9E13CD-65D3-4008-92A4-D0A57A4D5570}"/>
              </a:ext>
            </a:extLst>
          </p:cNvPr>
          <p:cNvGrpSpPr>
            <a:grpSpLocks noChangeAspect="1"/>
          </p:cNvGrpSpPr>
          <p:nvPr/>
        </p:nvGrpSpPr>
        <p:grpSpPr bwMode="auto">
          <a:xfrm>
            <a:off x="5841145" y="2081981"/>
            <a:ext cx="562368" cy="562874"/>
            <a:chOff x="-1" y="0"/>
            <a:chExt cx="2224" cy="2226"/>
          </a:xfrm>
          <a:solidFill>
            <a:srgbClr val="047CDA"/>
          </a:solidFill>
        </p:grpSpPr>
        <p:sp>
          <p:nvSpPr>
            <p:cNvPr id="79" name="Rectangle 18">
              <a:extLst>
                <a:ext uri="{FF2B5EF4-FFF2-40B4-BE49-F238E27FC236}">
                  <a16:creationId xmlns:a16="http://schemas.microsoft.com/office/drawing/2014/main" id="{5C653DF1-5E0D-44C8-A527-6F39E5524AFD}"/>
                </a:ext>
              </a:extLst>
            </p:cNvPr>
            <p:cNvSpPr>
              <a:spLocks noChangeArrowheads="1"/>
            </p:cNvSpPr>
            <p:nvPr/>
          </p:nvSpPr>
          <p:spPr bwMode="auto">
            <a:xfrm>
              <a:off x="1562" y="1138"/>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9">
              <a:extLst>
                <a:ext uri="{FF2B5EF4-FFF2-40B4-BE49-F238E27FC236}">
                  <a16:creationId xmlns:a16="http://schemas.microsoft.com/office/drawing/2014/main" id="{058A8461-3A3A-4C11-A8E6-6D948581ABAF}"/>
                </a:ext>
              </a:extLst>
            </p:cNvPr>
            <p:cNvSpPr>
              <a:spLocks noChangeArrowheads="1"/>
            </p:cNvSpPr>
            <p:nvPr/>
          </p:nvSpPr>
          <p:spPr bwMode="auto">
            <a:xfrm>
              <a:off x="1562"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0">
              <a:extLst>
                <a:ext uri="{FF2B5EF4-FFF2-40B4-BE49-F238E27FC236}">
                  <a16:creationId xmlns:a16="http://schemas.microsoft.com/office/drawing/2014/main" id="{2D66C5D6-AA93-4539-8317-9BF09D1CE130}"/>
                </a:ext>
              </a:extLst>
            </p:cNvPr>
            <p:cNvSpPr>
              <a:spLocks noChangeArrowheads="1"/>
            </p:cNvSpPr>
            <p:nvPr/>
          </p:nvSpPr>
          <p:spPr bwMode="auto">
            <a:xfrm>
              <a:off x="426"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28CFBCF2-8D75-40E4-80FC-D6D90EC6E8C6}"/>
                </a:ext>
              </a:extLst>
            </p:cNvPr>
            <p:cNvSpPr>
              <a:spLocks noEditPoints="1"/>
            </p:cNvSpPr>
            <p:nvPr/>
          </p:nvSpPr>
          <p:spPr bwMode="auto">
            <a:xfrm>
              <a:off x="-1" y="950"/>
              <a:ext cx="1275" cy="1276"/>
            </a:xfrm>
            <a:custGeom>
              <a:avLst/>
              <a:gdLst>
                <a:gd name="T0" fmla="*/ 458 w 613"/>
                <a:gd name="T1" fmla="*/ 344 h 612"/>
                <a:gd name="T2" fmla="*/ 268 w 613"/>
                <a:gd name="T3" fmla="*/ 345 h 612"/>
                <a:gd name="T4" fmla="*/ 269 w 613"/>
                <a:gd name="T5" fmla="*/ 155 h 612"/>
                <a:gd name="T6" fmla="*/ 459 w 613"/>
                <a:gd name="T7" fmla="*/ 154 h 612"/>
                <a:gd name="T8" fmla="*/ 458 w 613"/>
                <a:gd name="T9" fmla="*/ 344 h 612"/>
                <a:gd name="T10" fmla="*/ 204 w 613"/>
                <a:gd name="T11" fmla="*/ 89 h 612"/>
                <a:gd name="T12" fmla="*/ 173 w 613"/>
                <a:gd name="T13" fmla="*/ 374 h 612"/>
                <a:gd name="T14" fmla="*/ 0 w 613"/>
                <a:gd name="T15" fmla="*/ 547 h 612"/>
                <a:gd name="T16" fmla="*/ 64 w 613"/>
                <a:gd name="T17" fmla="*/ 612 h 612"/>
                <a:gd name="T18" fmla="*/ 237 w 613"/>
                <a:gd name="T19" fmla="*/ 439 h 612"/>
                <a:gd name="T20" fmla="*/ 523 w 613"/>
                <a:gd name="T21" fmla="*/ 409 h 612"/>
                <a:gd name="T22" fmla="*/ 525 w 613"/>
                <a:gd name="T23" fmla="*/ 88 h 612"/>
                <a:gd name="T24" fmla="*/ 204 w 613"/>
                <a:gd name="T25" fmla="*/ 8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612">
                  <a:moveTo>
                    <a:pt x="458" y="344"/>
                  </a:moveTo>
                  <a:cubicBezTo>
                    <a:pt x="405" y="397"/>
                    <a:pt x="320" y="397"/>
                    <a:pt x="268" y="345"/>
                  </a:cubicBezTo>
                  <a:cubicBezTo>
                    <a:pt x="216" y="293"/>
                    <a:pt x="216" y="208"/>
                    <a:pt x="269" y="155"/>
                  </a:cubicBezTo>
                  <a:cubicBezTo>
                    <a:pt x="322" y="102"/>
                    <a:pt x="407" y="102"/>
                    <a:pt x="459" y="154"/>
                  </a:cubicBezTo>
                  <a:cubicBezTo>
                    <a:pt x="511" y="206"/>
                    <a:pt x="511" y="291"/>
                    <a:pt x="458" y="344"/>
                  </a:cubicBezTo>
                  <a:moveTo>
                    <a:pt x="204" y="89"/>
                  </a:moveTo>
                  <a:cubicBezTo>
                    <a:pt x="126" y="167"/>
                    <a:pt x="115" y="286"/>
                    <a:pt x="173" y="374"/>
                  </a:cubicBezTo>
                  <a:cubicBezTo>
                    <a:pt x="0" y="547"/>
                    <a:pt x="0" y="547"/>
                    <a:pt x="0" y="547"/>
                  </a:cubicBezTo>
                  <a:cubicBezTo>
                    <a:pt x="64" y="612"/>
                    <a:pt x="64" y="612"/>
                    <a:pt x="64" y="612"/>
                  </a:cubicBezTo>
                  <a:cubicBezTo>
                    <a:pt x="237" y="439"/>
                    <a:pt x="237" y="439"/>
                    <a:pt x="237" y="439"/>
                  </a:cubicBezTo>
                  <a:cubicBezTo>
                    <a:pt x="325" y="498"/>
                    <a:pt x="445" y="487"/>
                    <a:pt x="523" y="409"/>
                  </a:cubicBezTo>
                  <a:cubicBezTo>
                    <a:pt x="613" y="320"/>
                    <a:pt x="613" y="176"/>
                    <a:pt x="525" y="88"/>
                  </a:cubicBezTo>
                  <a:cubicBezTo>
                    <a:pt x="437" y="0"/>
                    <a:pt x="293" y="0"/>
                    <a:pt x="204"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Freeform 25">
            <a:extLst>
              <a:ext uri="{FF2B5EF4-FFF2-40B4-BE49-F238E27FC236}">
                <a16:creationId xmlns:a16="http://schemas.microsoft.com/office/drawing/2014/main" id="{3A5AE66C-1E85-4FAB-B2F4-4BD8A178BE4B}"/>
              </a:ext>
            </a:extLst>
          </p:cNvPr>
          <p:cNvSpPr>
            <a:spLocks noEditPoints="1"/>
          </p:cNvSpPr>
          <p:nvPr/>
        </p:nvSpPr>
        <p:spPr bwMode="auto">
          <a:xfrm>
            <a:off x="1065148" y="4353526"/>
            <a:ext cx="580940" cy="557643"/>
          </a:xfrm>
          <a:custGeom>
            <a:avLst/>
            <a:gdLst>
              <a:gd name="T0" fmla="*/ 364 w 1115"/>
              <a:gd name="T1" fmla="*/ 840 h 1068"/>
              <a:gd name="T2" fmla="*/ 230 w 1115"/>
              <a:gd name="T3" fmla="*/ 705 h 1068"/>
              <a:gd name="T4" fmla="*/ 364 w 1115"/>
              <a:gd name="T5" fmla="*/ 570 h 1068"/>
              <a:gd name="T6" fmla="*/ 498 w 1115"/>
              <a:gd name="T7" fmla="*/ 705 h 1068"/>
              <a:gd name="T8" fmla="*/ 364 w 1115"/>
              <a:gd name="T9" fmla="*/ 840 h 1068"/>
              <a:gd name="T10" fmla="*/ 364 w 1115"/>
              <a:gd name="T11" fmla="*/ 478 h 1068"/>
              <a:gd name="T12" fmla="*/ 592 w 1115"/>
              <a:gd name="T13" fmla="*/ 705 h 1068"/>
              <a:gd name="T14" fmla="*/ 364 w 1115"/>
              <a:gd name="T15" fmla="*/ 933 h 1068"/>
              <a:gd name="T16" fmla="*/ 238 w 1115"/>
              <a:gd name="T17" fmla="*/ 895 h 1068"/>
              <a:gd name="T18" fmla="*/ 64 w 1115"/>
              <a:gd name="T19" fmla="*/ 1068 h 1068"/>
              <a:gd name="T20" fmla="*/ 0 w 1115"/>
              <a:gd name="T21" fmla="*/ 1003 h 1068"/>
              <a:gd name="T22" fmla="*/ 174 w 1115"/>
              <a:gd name="T23" fmla="*/ 830 h 1068"/>
              <a:gd name="T24" fmla="*/ 137 w 1115"/>
              <a:gd name="T25" fmla="*/ 705 h 1068"/>
              <a:gd name="T26" fmla="*/ 364 w 1115"/>
              <a:gd name="T27" fmla="*/ 478 h 1068"/>
              <a:gd name="T28" fmla="*/ 205 w 1115"/>
              <a:gd name="T29" fmla="*/ 91 h 1068"/>
              <a:gd name="T30" fmla="*/ 205 w 1115"/>
              <a:gd name="T31" fmla="*/ 0 h 1068"/>
              <a:gd name="T32" fmla="*/ 1115 w 1115"/>
              <a:gd name="T33" fmla="*/ 0 h 1068"/>
              <a:gd name="T34" fmla="*/ 1115 w 1115"/>
              <a:gd name="T35" fmla="*/ 91 h 1068"/>
              <a:gd name="T36" fmla="*/ 205 w 1115"/>
              <a:gd name="T37" fmla="*/ 91 h 1068"/>
              <a:gd name="T38" fmla="*/ 205 w 1115"/>
              <a:gd name="T39" fmla="*/ 341 h 1068"/>
              <a:gd name="T40" fmla="*/ 205 w 1115"/>
              <a:gd name="T41" fmla="*/ 250 h 1068"/>
              <a:gd name="T42" fmla="*/ 1115 w 1115"/>
              <a:gd name="T43" fmla="*/ 250 h 1068"/>
              <a:gd name="T44" fmla="*/ 1115 w 1115"/>
              <a:gd name="T45" fmla="*/ 341 h 1068"/>
              <a:gd name="T46" fmla="*/ 205 w 1115"/>
              <a:gd name="T47" fmla="*/ 341 h 1068"/>
              <a:gd name="T48" fmla="*/ 662 w 1115"/>
              <a:gd name="T49" fmla="*/ 592 h 1068"/>
              <a:gd name="T50" fmla="*/ 609 w 1115"/>
              <a:gd name="T51" fmla="*/ 501 h 1068"/>
              <a:gd name="T52" fmla="*/ 1115 w 1115"/>
              <a:gd name="T53" fmla="*/ 501 h 1068"/>
              <a:gd name="T54" fmla="*/ 1115 w 1115"/>
              <a:gd name="T55" fmla="*/ 592 h 1068"/>
              <a:gd name="T56" fmla="*/ 662 w 1115"/>
              <a:gd name="T57" fmla="*/ 592 h 1068"/>
              <a:gd name="T58" fmla="*/ 652 w 1115"/>
              <a:gd name="T59" fmla="*/ 842 h 1068"/>
              <a:gd name="T60" fmla="*/ 680 w 1115"/>
              <a:gd name="T61" fmla="*/ 751 h 1068"/>
              <a:gd name="T62" fmla="*/ 1115 w 1115"/>
              <a:gd name="T63" fmla="*/ 751 h 1068"/>
              <a:gd name="T64" fmla="*/ 1115 w 1115"/>
              <a:gd name="T65" fmla="*/ 842 h 1068"/>
              <a:gd name="T66" fmla="*/ 652 w 1115"/>
              <a:gd name="T67" fmla="*/ 842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5" h="1068">
                <a:moveTo>
                  <a:pt x="364" y="840"/>
                </a:moveTo>
                <a:cubicBezTo>
                  <a:pt x="290" y="840"/>
                  <a:pt x="230" y="780"/>
                  <a:pt x="230" y="705"/>
                </a:cubicBezTo>
                <a:cubicBezTo>
                  <a:pt x="230" y="631"/>
                  <a:pt x="290" y="570"/>
                  <a:pt x="364" y="570"/>
                </a:cubicBezTo>
                <a:cubicBezTo>
                  <a:pt x="438" y="570"/>
                  <a:pt x="498" y="631"/>
                  <a:pt x="498" y="705"/>
                </a:cubicBezTo>
                <a:cubicBezTo>
                  <a:pt x="498" y="780"/>
                  <a:pt x="438" y="840"/>
                  <a:pt x="364" y="840"/>
                </a:cubicBezTo>
                <a:moveTo>
                  <a:pt x="364" y="478"/>
                </a:moveTo>
                <a:cubicBezTo>
                  <a:pt x="490" y="478"/>
                  <a:pt x="592" y="580"/>
                  <a:pt x="592" y="705"/>
                </a:cubicBezTo>
                <a:cubicBezTo>
                  <a:pt x="592" y="831"/>
                  <a:pt x="490" y="933"/>
                  <a:pt x="364" y="933"/>
                </a:cubicBezTo>
                <a:cubicBezTo>
                  <a:pt x="317" y="933"/>
                  <a:pt x="274" y="919"/>
                  <a:pt x="238" y="895"/>
                </a:cubicBezTo>
                <a:cubicBezTo>
                  <a:pt x="64" y="1068"/>
                  <a:pt x="64" y="1068"/>
                  <a:pt x="64" y="1068"/>
                </a:cubicBezTo>
                <a:cubicBezTo>
                  <a:pt x="0" y="1003"/>
                  <a:pt x="0" y="1003"/>
                  <a:pt x="0" y="1003"/>
                </a:cubicBezTo>
                <a:cubicBezTo>
                  <a:pt x="174" y="830"/>
                  <a:pt x="174" y="830"/>
                  <a:pt x="174" y="830"/>
                </a:cubicBezTo>
                <a:cubicBezTo>
                  <a:pt x="150" y="794"/>
                  <a:pt x="137" y="751"/>
                  <a:pt x="137" y="705"/>
                </a:cubicBezTo>
                <a:cubicBezTo>
                  <a:pt x="137" y="580"/>
                  <a:pt x="238" y="478"/>
                  <a:pt x="364" y="478"/>
                </a:cubicBezTo>
                <a:close/>
                <a:moveTo>
                  <a:pt x="205" y="91"/>
                </a:moveTo>
                <a:cubicBezTo>
                  <a:pt x="205" y="0"/>
                  <a:pt x="205" y="0"/>
                  <a:pt x="205" y="0"/>
                </a:cubicBezTo>
                <a:cubicBezTo>
                  <a:pt x="1115" y="0"/>
                  <a:pt x="1115" y="0"/>
                  <a:pt x="1115" y="0"/>
                </a:cubicBezTo>
                <a:cubicBezTo>
                  <a:pt x="1115" y="91"/>
                  <a:pt x="1115" y="91"/>
                  <a:pt x="1115" y="91"/>
                </a:cubicBezTo>
                <a:lnTo>
                  <a:pt x="205" y="91"/>
                </a:lnTo>
                <a:close/>
                <a:moveTo>
                  <a:pt x="205" y="341"/>
                </a:moveTo>
                <a:cubicBezTo>
                  <a:pt x="205" y="250"/>
                  <a:pt x="205" y="250"/>
                  <a:pt x="205" y="250"/>
                </a:cubicBezTo>
                <a:cubicBezTo>
                  <a:pt x="1115" y="250"/>
                  <a:pt x="1115" y="250"/>
                  <a:pt x="1115" y="250"/>
                </a:cubicBezTo>
                <a:cubicBezTo>
                  <a:pt x="1115" y="341"/>
                  <a:pt x="1115" y="341"/>
                  <a:pt x="1115" y="341"/>
                </a:cubicBezTo>
                <a:lnTo>
                  <a:pt x="205" y="341"/>
                </a:lnTo>
                <a:close/>
                <a:moveTo>
                  <a:pt x="662" y="592"/>
                </a:moveTo>
                <a:cubicBezTo>
                  <a:pt x="649" y="558"/>
                  <a:pt x="631" y="527"/>
                  <a:pt x="609" y="501"/>
                </a:cubicBezTo>
                <a:cubicBezTo>
                  <a:pt x="1115" y="501"/>
                  <a:pt x="1115" y="501"/>
                  <a:pt x="1115" y="501"/>
                </a:cubicBezTo>
                <a:cubicBezTo>
                  <a:pt x="1115" y="592"/>
                  <a:pt x="1115" y="592"/>
                  <a:pt x="1115" y="592"/>
                </a:cubicBezTo>
                <a:lnTo>
                  <a:pt x="662" y="592"/>
                </a:lnTo>
                <a:close/>
                <a:moveTo>
                  <a:pt x="652" y="842"/>
                </a:moveTo>
                <a:cubicBezTo>
                  <a:pt x="666" y="814"/>
                  <a:pt x="675" y="783"/>
                  <a:pt x="680" y="751"/>
                </a:cubicBezTo>
                <a:cubicBezTo>
                  <a:pt x="1115" y="751"/>
                  <a:pt x="1115" y="751"/>
                  <a:pt x="1115" y="751"/>
                </a:cubicBezTo>
                <a:cubicBezTo>
                  <a:pt x="1115" y="842"/>
                  <a:pt x="1115" y="842"/>
                  <a:pt x="1115" y="842"/>
                </a:cubicBezTo>
                <a:lnTo>
                  <a:pt x="652" y="84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4" name="Group 28">
            <a:extLst>
              <a:ext uri="{FF2B5EF4-FFF2-40B4-BE49-F238E27FC236}">
                <a16:creationId xmlns:a16="http://schemas.microsoft.com/office/drawing/2014/main" id="{7F177447-C79F-4F7B-8571-B9EB80393231}"/>
              </a:ext>
            </a:extLst>
          </p:cNvPr>
          <p:cNvGrpSpPr>
            <a:grpSpLocks noChangeAspect="1"/>
          </p:cNvGrpSpPr>
          <p:nvPr/>
        </p:nvGrpSpPr>
        <p:grpSpPr bwMode="auto">
          <a:xfrm>
            <a:off x="9177110" y="2059440"/>
            <a:ext cx="637088" cy="625439"/>
            <a:chOff x="-2" y="1"/>
            <a:chExt cx="2461" cy="2416"/>
          </a:xfrm>
          <a:solidFill>
            <a:srgbClr val="047CDA"/>
          </a:solidFill>
        </p:grpSpPr>
        <p:sp>
          <p:nvSpPr>
            <p:cNvPr id="85" name="Freeform 29">
              <a:extLst>
                <a:ext uri="{FF2B5EF4-FFF2-40B4-BE49-F238E27FC236}">
                  <a16:creationId xmlns:a16="http://schemas.microsoft.com/office/drawing/2014/main" id="{10932EC3-5C82-41A6-9FD9-2D198A47073A}"/>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0">
              <a:extLst>
                <a:ext uri="{FF2B5EF4-FFF2-40B4-BE49-F238E27FC236}">
                  <a16:creationId xmlns:a16="http://schemas.microsoft.com/office/drawing/2014/main" id="{8A021DDB-569D-465B-A51C-4B08398ACCC3}"/>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448035" y="2051604"/>
            <a:ext cx="538089" cy="553215"/>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864" y="254613"/>
            <a:ext cx="1188839" cy="956984"/>
            <a:chOff x="864" y="254613"/>
            <a:chExt cx="1188839" cy="956984"/>
          </a:xfrm>
        </p:grpSpPr>
        <p:sp>
          <p:nvSpPr>
            <p:cNvPr id="53" name="Rectangle 5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8115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0-#ppt_w/2"/>
                                          </p:val>
                                        </p:tav>
                                        <p:tav tm="100000">
                                          <p:val>
                                            <p:strVal val="#ppt_x"/>
                                          </p:val>
                                        </p:tav>
                                      </p:tavLst>
                                    </p:anim>
                                    <p:anim calcmode="lin" valueType="num">
                                      <p:cBhvr additive="base">
                                        <p:cTn id="8" dur="500" fill="hold"/>
                                        <p:tgtEl>
                                          <p:spTgt spid="4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additive="base">
                                        <p:cTn id="12" dur="500" fill="hold"/>
                                        <p:tgtEl>
                                          <p:spTgt spid="48"/>
                                        </p:tgtEl>
                                        <p:attrNameLst>
                                          <p:attrName>ppt_x</p:attrName>
                                        </p:attrNameLst>
                                      </p:cBhvr>
                                      <p:tavLst>
                                        <p:tav tm="0">
                                          <p:val>
                                            <p:strVal val="0-#ppt_w/2"/>
                                          </p:val>
                                        </p:tav>
                                        <p:tav tm="100000">
                                          <p:val>
                                            <p:strVal val="#ppt_x"/>
                                          </p:val>
                                        </p:tav>
                                      </p:tavLst>
                                    </p:anim>
                                    <p:anim calcmode="lin" valueType="num">
                                      <p:cBhvr additive="base">
                                        <p:cTn id="13" dur="500" fill="hold"/>
                                        <p:tgtEl>
                                          <p:spTgt spid="48"/>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 calcmode="lin" valueType="num">
                                      <p:cBhvr>
                                        <p:cTn id="16" dur="500" fill="hold"/>
                                        <p:tgtEl>
                                          <p:spTgt spid="87"/>
                                        </p:tgtEl>
                                        <p:attrNameLst>
                                          <p:attrName>ppt_w</p:attrName>
                                        </p:attrNameLst>
                                      </p:cBhvr>
                                      <p:tavLst>
                                        <p:tav tm="0">
                                          <p:val>
                                            <p:fltVal val="0"/>
                                          </p:val>
                                        </p:tav>
                                        <p:tav tm="100000">
                                          <p:val>
                                            <p:strVal val="#ppt_w"/>
                                          </p:val>
                                        </p:tav>
                                      </p:tavLst>
                                    </p:anim>
                                    <p:anim calcmode="lin" valueType="num">
                                      <p:cBhvr>
                                        <p:cTn id="17" dur="500" fill="hold"/>
                                        <p:tgtEl>
                                          <p:spTgt spid="87"/>
                                        </p:tgtEl>
                                        <p:attrNameLst>
                                          <p:attrName>ppt_h</p:attrName>
                                        </p:attrNameLst>
                                      </p:cBhvr>
                                      <p:tavLst>
                                        <p:tav tm="0">
                                          <p:val>
                                            <p:fltVal val="0"/>
                                          </p:val>
                                        </p:tav>
                                        <p:tav tm="100000">
                                          <p:val>
                                            <p:strVal val="#ppt_h"/>
                                          </p:val>
                                        </p:tav>
                                      </p:tavLst>
                                    </p:anim>
                                    <p:animEffect transition="in" filter="fade">
                                      <p:cBhvr>
                                        <p:cTn id="18" dur="500"/>
                                        <p:tgtEl>
                                          <p:spTgt spid="87"/>
                                        </p:tgtEl>
                                      </p:cBhvr>
                                    </p:animEffect>
                                  </p:childTnLst>
                                </p:cTn>
                              </p:par>
                              <p:par>
                                <p:cTn id="19" presetID="53" presetClass="entr" presetSubtype="16"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p:cTn id="21" dur="500" fill="hold"/>
                                        <p:tgtEl>
                                          <p:spTgt spid="78"/>
                                        </p:tgtEl>
                                        <p:attrNameLst>
                                          <p:attrName>ppt_w</p:attrName>
                                        </p:attrNameLst>
                                      </p:cBhvr>
                                      <p:tavLst>
                                        <p:tav tm="0">
                                          <p:val>
                                            <p:fltVal val="0"/>
                                          </p:val>
                                        </p:tav>
                                        <p:tav tm="100000">
                                          <p:val>
                                            <p:strVal val="#ppt_w"/>
                                          </p:val>
                                        </p:tav>
                                      </p:tavLst>
                                    </p:anim>
                                    <p:anim calcmode="lin" valueType="num">
                                      <p:cBhvr>
                                        <p:cTn id="22" dur="500" fill="hold"/>
                                        <p:tgtEl>
                                          <p:spTgt spid="78"/>
                                        </p:tgtEl>
                                        <p:attrNameLst>
                                          <p:attrName>ppt_h</p:attrName>
                                        </p:attrNameLst>
                                      </p:cBhvr>
                                      <p:tavLst>
                                        <p:tav tm="0">
                                          <p:val>
                                            <p:fltVal val="0"/>
                                          </p:val>
                                        </p:tav>
                                        <p:tav tm="100000">
                                          <p:val>
                                            <p:strVal val="#ppt_h"/>
                                          </p:val>
                                        </p:tav>
                                      </p:tavLst>
                                    </p:anim>
                                    <p:animEffect transition="in" filter="fade">
                                      <p:cBhvr>
                                        <p:cTn id="23" dur="500"/>
                                        <p:tgtEl>
                                          <p:spTgt spid="78"/>
                                        </p:tgtEl>
                                      </p:cBhvr>
                                    </p:animEffect>
                                  </p:childTnLst>
                                </p:cTn>
                              </p:par>
                              <p:par>
                                <p:cTn id="24" presetID="53" presetClass="entr" presetSubtype="16" fill="hold" nodeType="withEffect">
                                  <p:stCondLst>
                                    <p:cond delay="0"/>
                                  </p:stCondLst>
                                  <p:childTnLst>
                                    <p:set>
                                      <p:cBhvr>
                                        <p:cTn id="25" dur="1" fill="hold">
                                          <p:stCondLst>
                                            <p:cond delay="0"/>
                                          </p:stCondLst>
                                        </p:cTn>
                                        <p:tgtEl>
                                          <p:spTgt spid="84"/>
                                        </p:tgtEl>
                                        <p:attrNameLst>
                                          <p:attrName>style.visibility</p:attrName>
                                        </p:attrNameLst>
                                      </p:cBhvr>
                                      <p:to>
                                        <p:strVal val="visible"/>
                                      </p:to>
                                    </p:set>
                                    <p:anim calcmode="lin" valueType="num">
                                      <p:cBhvr>
                                        <p:cTn id="26" dur="500" fill="hold"/>
                                        <p:tgtEl>
                                          <p:spTgt spid="84"/>
                                        </p:tgtEl>
                                        <p:attrNameLst>
                                          <p:attrName>ppt_w</p:attrName>
                                        </p:attrNameLst>
                                      </p:cBhvr>
                                      <p:tavLst>
                                        <p:tav tm="0">
                                          <p:val>
                                            <p:fltVal val="0"/>
                                          </p:val>
                                        </p:tav>
                                        <p:tav tm="100000">
                                          <p:val>
                                            <p:strVal val="#ppt_w"/>
                                          </p:val>
                                        </p:tav>
                                      </p:tavLst>
                                    </p:anim>
                                    <p:anim calcmode="lin" valueType="num">
                                      <p:cBhvr>
                                        <p:cTn id="27" dur="500" fill="hold"/>
                                        <p:tgtEl>
                                          <p:spTgt spid="84"/>
                                        </p:tgtEl>
                                        <p:attrNameLst>
                                          <p:attrName>ppt_h</p:attrName>
                                        </p:attrNameLst>
                                      </p:cBhvr>
                                      <p:tavLst>
                                        <p:tav tm="0">
                                          <p:val>
                                            <p:fltVal val="0"/>
                                          </p:val>
                                        </p:tav>
                                        <p:tav tm="100000">
                                          <p:val>
                                            <p:strVal val="#ppt_h"/>
                                          </p:val>
                                        </p:tav>
                                      </p:tavLst>
                                    </p:anim>
                                    <p:animEffect transition="in" filter="fade">
                                      <p:cBhvr>
                                        <p:cTn id="28" dur="500"/>
                                        <p:tgtEl>
                                          <p:spTgt spid="84"/>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p:cTn id="36" dur="500" fill="hold"/>
                                        <p:tgtEl>
                                          <p:spTgt spid="77"/>
                                        </p:tgtEl>
                                        <p:attrNameLst>
                                          <p:attrName>ppt_w</p:attrName>
                                        </p:attrNameLst>
                                      </p:cBhvr>
                                      <p:tavLst>
                                        <p:tav tm="0">
                                          <p:val>
                                            <p:fltVal val="0"/>
                                          </p:val>
                                        </p:tav>
                                        <p:tav tm="100000">
                                          <p:val>
                                            <p:strVal val="#ppt_w"/>
                                          </p:val>
                                        </p:tav>
                                      </p:tavLst>
                                    </p:anim>
                                    <p:anim calcmode="lin" valueType="num">
                                      <p:cBhvr>
                                        <p:cTn id="37" dur="500" fill="hold"/>
                                        <p:tgtEl>
                                          <p:spTgt spid="77"/>
                                        </p:tgtEl>
                                        <p:attrNameLst>
                                          <p:attrName>ppt_h</p:attrName>
                                        </p:attrNameLst>
                                      </p:cBhvr>
                                      <p:tavLst>
                                        <p:tav tm="0">
                                          <p:val>
                                            <p:fltVal val="0"/>
                                          </p:val>
                                        </p:tav>
                                        <p:tav tm="100000">
                                          <p:val>
                                            <p:strVal val="#ppt_h"/>
                                          </p:val>
                                        </p:tav>
                                      </p:tavLst>
                                    </p:anim>
                                    <p:animEffect transition="in" filter="fade">
                                      <p:cBhvr>
                                        <p:cTn id="38" dur="500"/>
                                        <p:tgtEl>
                                          <p:spTgt spid="77"/>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1"/>
                                        </p:tgtEl>
                                        <p:attrNameLst>
                                          <p:attrName>style.visibility</p:attrName>
                                        </p:attrNameLst>
                                      </p:cBhvr>
                                      <p:to>
                                        <p:strVal val="visible"/>
                                      </p:to>
                                    </p:set>
                                    <p:anim calcmode="lin" valueType="num">
                                      <p:cBhvr>
                                        <p:cTn id="41" dur="500" fill="hold"/>
                                        <p:tgtEl>
                                          <p:spTgt spid="61"/>
                                        </p:tgtEl>
                                        <p:attrNameLst>
                                          <p:attrName>ppt_w</p:attrName>
                                        </p:attrNameLst>
                                      </p:cBhvr>
                                      <p:tavLst>
                                        <p:tav tm="0">
                                          <p:val>
                                            <p:fltVal val="0"/>
                                          </p:val>
                                        </p:tav>
                                        <p:tav tm="100000">
                                          <p:val>
                                            <p:strVal val="#ppt_w"/>
                                          </p:val>
                                        </p:tav>
                                      </p:tavLst>
                                    </p:anim>
                                    <p:anim calcmode="lin" valueType="num">
                                      <p:cBhvr>
                                        <p:cTn id="42" dur="500" fill="hold"/>
                                        <p:tgtEl>
                                          <p:spTgt spid="61"/>
                                        </p:tgtEl>
                                        <p:attrNameLst>
                                          <p:attrName>ppt_h</p:attrName>
                                        </p:attrNameLst>
                                      </p:cBhvr>
                                      <p:tavLst>
                                        <p:tav tm="0">
                                          <p:val>
                                            <p:fltVal val="0"/>
                                          </p:val>
                                        </p:tav>
                                        <p:tav tm="100000">
                                          <p:val>
                                            <p:strVal val="#ppt_h"/>
                                          </p:val>
                                        </p:tav>
                                      </p:tavLst>
                                    </p:anim>
                                    <p:animEffect transition="in" filter="fade">
                                      <p:cBhvr>
                                        <p:cTn id="43" dur="500"/>
                                        <p:tgtEl>
                                          <p:spTgt spid="61"/>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 calcmode="lin" valueType="num">
                                      <p:cBhvr>
                                        <p:cTn id="46" dur="500" fill="hold"/>
                                        <p:tgtEl>
                                          <p:spTgt spid="83"/>
                                        </p:tgtEl>
                                        <p:attrNameLst>
                                          <p:attrName>ppt_w</p:attrName>
                                        </p:attrNameLst>
                                      </p:cBhvr>
                                      <p:tavLst>
                                        <p:tav tm="0">
                                          <p:val>
                                            <p:fltVal val="0"/>
                                          </p:val>
                                        </p:tav>
                                        <p:tav tm="100000">
                                          <p:val>
                                            <p:strVal val="#ppt_w"/>
                                          </p:val>
                                        </p:tav>
                                      </p:tavLst>
                                    </p:anim>
                                    <p:anim calcmode="lin" valueType="num">
                                      <p:cBhvr>
                                        <p:cTn id="47" dur="500" fill="hold"/>
                                        <p:tgtEl>
                                          <p:spTgt spid="83"/>
                                        </p:tgtEl>
                                        <p:attrNameLst>
                                          <p:attrName>ppt_h</p:attrName>
                                        </p:attrNameLst>
                                      </p:cBhvr>
                                      <p:tavLst>
                                        <p:tav tm="0">
                                          <p:val>
                                            <p:fltVal val="0"/>
                                          </p:val>
                                        </p:tav>
                                        <p:tav tm="100000">
                                          <p:val>
                                            <p:strVal val="#ppt_h"/>
                                          </p:val>
                                        </p:tav>
                                      </p:tavLst>
                                    </p:anim>
                                    <p:animEffect transition="in" filter="fade">
                                      <p:cBhvr>
                                        <p:cTn id="48" dur="500"/>
                                        <p:tgtEl>
                                          <p:spTgt spid="83"/>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500"/>
                                        <p:tgtEl>
                                          <p:spTgt spid="6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0"/>
                                        <p:tgtEl>
                                          <p:spTgt spid="7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fade">
                                      <p:cBhvr>
                                        <p:cTn id="73" dur="500"/>
                                        <p:tgtEl>
                                          <p:spTgt spid="7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4"/>
                                        </p:tgtEl>
                                        <p:attrNameLst>
                                          <p:attrName>style.visibility</p:attrName>
                                        </p:attrNameLst>
                                      </p:cBhvr>
                                      <p:to>
                                        <p:strVal val="visible"/>
                                      </p:to>
                                    </p:set>
                                    <p:animEffect transition="in" filter="fade">
                                      <p:cBhvr>
                                        <p:cTn id="85" dur="500"/>
                                        <p:tgtEl>
                                          <p:spTgt spid="6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2" grpId="0"/>
      <p:bldP spid="63" grpId="0"/>
      <p:bldP spid="64" grpId="0"/>
      <p:bldP spid="65" grpId="0"/>
      <p:bldP spid="66" grpId="0"/>
      <p:bldP spid="67" grpId="0"/>
      <p:bldP spid="68" grpId="0"/>
      <p:bldP spid="69" grpId="0"/>
      <p:bldP spid="70" grpId="0"/>
      <p:bldP spid="71" grpId="0"/>
      <p:bldP spid="72" grpId="0"/>
      <p:bldP spid="73" grpId="0"/>
      <p:bldP spid="43" grpId="0"/>
      <p:bldP spid="44" grpId="0"/>
      <p:bldP spid="61" grpId="0" animBg="1"/>
      <p:bldP spid="77" grpId="0" animBg="1"/>
      <p:bldP spid="83" grpId="0" animBg="1"/>
      <p:bldP spid="8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57D4C690-9579-4E01-8EA7-7181D4020CF5}"/>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Microsoft Cognitive Services Labs</a:t>
            </a:r>
          </a:p>
        </p:txBody>
      </p:sp>
      <p:sp>
        <p:nvSpPr>
          <p:cNvPr id="4" name="Rectangle 3">
            <a:extLst>
              <a:ext uri="{FF2B5EF4-FFF2-40B4-BE49-F238E27FC236}">
                <a16:creationId xmlns:a16="http://schemas.microsoft.com/office/drawing/2014/main" id="{D2DAC7ED-E7D0-4D43-AFD5-047FDD9066B6}"/>
              </a:ext>
            </a:extLst>
          </p:cNvPr>
          <p:cNvSpPr/>
          <p:nvPr/>
        </p:nvSpPr>
        <p:spPr>
          <a:xfrm>
            <a:off x="1189706" y="1389257"/>
            <a:ext cx="11654188" cy="843535"/>
          </a:xfrm>
          <a:prstGeom prst="rect">
            <a:avLst/>
          </a:prstGeom>
        </p:spPr>
        <p:txBody>
          <a:bodyPr wrap="square" lIns="179259" tIns="143407" rIns="179259" bIns="143407">
            <a:spAutoFit/>
          </a:bodyPr>
          <a:lstStyle/>
          <a:p>
            <a:pPr defTabSz="914139">
              <a:lnSpc>
                <a:spcPct val="90000"/>
              </a:lnSpc>
              <a:defRPr/>
            </a:pP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 early look at emerging Cognitive Services technologies: </a:t>
            </a:r>
            <a:b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cover, try, and give feedback on new technologies before general availability</a:t>
            </a:r>
          </a:p>
        </p:txBody>
      </p:sp>
      <p:sp>
        <p:nvSpPr>
          <p:cNvPr id="43" name="Rectangle 42"/>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p:cNvPr>
          <p:cNvSpPr txBox="1"/>
          <p:nvPr/>
        </p:nvSpPr>
        <p:spPr>
          <a:xfrm>
            <a:off x="4826805" y="5616882"/>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a:t>
            </a:r>
          </a:p>
        </p:txBody>
      </p:sp>
      <p:sp>
        <p:nvSpPr>
          <p:cNvPr id="79" name="Rectangle 78">
            <a:extLst/>
          </p:cNvPr>
          <p:cNvSpPr/>
          <p:nvPr/>
        </p:nvSpPr>
        <p:spPr>
          <a:xfrm>
            <a:off x="4700595" y="6021604"/>
            <a:ext cx="2940141"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ance matrices</a:t>
            </a:r>
          </a:p>
        </p:txBody>
      </p:sp>
      <p:sp>
        <p:nvSpPr>
          <p:cNvPr id="80" name="TextBox 79">
            <a:extLst/>
          </p:cNvPr>
          <p:cNvSpPr txBox="1"/>
          <p:nvPr/>
        </p:nvSpPr>
        <p:spPr>
          <a:xfrm>
            <a:off x="1400521" y="3645424"/>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a:t>
            </a:r>
          </a:p>
        </p:txBody>
      </p:sp>
      <p:sp>
        <p:nvSpPr>
          <p:cNvPr id="81" name="Rectangle 80">
            <a:extLst/>
          </p:cNvPr>
          <p:cNvSpPr/>
          <p:nvPr/>
        </p:nvSpPr>
        <p:spPr>
          <a:xfrm>
            <a:off x="1395775"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esture based controls</a:t>
            </a:r>
          </a:p>
        </p:txBody>
      </p:sp>
      <p:sp>
        <p:nvSpPr>
          <p:cNvPr id="82" name="TextBox 81">
            <a:extLst/>
          </p:cNvPr>
          <p:cNvSpPr txBox="1"/>
          <p:nvPr/>
        </p:nvSpPr>
        <p:spPr>
          <a:xfrm>
            <a:off x="4721935" y="3645424"/>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a:t>
            </a:r>
          </a:p>
        </p:txBody>
      </p:sp>
      <p:sp>
        <p:nvSpPr>
          <p:cNvPr id="83" name="Rectangle 82">
            <a:extLst/>
          </p:cNvPr>
          <p:cNvSpPr/>
          <p:nvPr/>
        </p:nvSpPr>
        <p:spPr>
          <a:xfrm>
            <a:off x="482622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vent associated with Wikipedia</a:t>
            </a:r>
          </a:p>
        </p:txBody>
      </p:sp>
      <p:sp>
        <p:nvSpPr>
          <p:cNvPr id="84" name="TextBox 83">
            <a:extLst/>
          </p:cNvPr>
          <p:cNvSpPr txBox="1"/>
          <p:nvPr/>
        </p:nvSpPr>
        <p:spPr>
          <a:xfrm>
            <a:off x="8267051" y="3645424"/>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a:t>
            </a:r>
          </a:p>
        </p:txBody>
      </p:sp>
      <p:sp>
        <p:nvSpPr>
          <p:cNvPr id="85" name="Rectangle 84">
            <a:extLst/>
          </p:cNvPr>
          <p:cNvSpPr/>
          <p:nvPr/>
        </p:nvSpPr>
        <p:spPr>
          <a:xfrm>
            <a:off x="822033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oute logistics</a:t>
            </a:r>
          </a:p>
        </p:txBody>
      </p:sp>
      <p:sp>
        <p:nvSpPr>
          <p:cNvPr id="86" name="TextBox 85">
            <a:extLst/>
          </p:cNvPr>
          <p:cNvSpPr txBox="1"/>
          <p:nvPr/>
        </p:nvSpPr>
        <p:spPr>
          <a:xfrm>
            <a:off x="1338031" y="5616882"/>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a:t>
            </a:r>
          </a:p>
        </p:txBody>
      </p:sp>
      <p:sp>
        <p:nvSpPr>
          <p:cNvPr id="87" name="Rectangle 86">
            <a:extLst/>
          </p:cNvPr>
          <p:cNvSpPr/>
          <p:nvPr/>
        </p:nvSpPr>
        <p:spPr>
          <a:xfrm>
            <a:off x="1395775"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sochrones calculations</a:t>
            </a:r>
          </a:p>
        </p:txBody>
      </p:sp>
      <p:sp>
        <p:nvSpPr>
          <p:cNvPr id="88" name="Rectangle 87">
            <a:extLst/>
          </p:cNvPr>
          <p:cNvSpPr/>
          <p:nvPr/>
        </p:nvSpPr>
        <p:spPr>
          <a:xfrm>
            <a:off x="8220330"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core location attractiveness</a:t>
            </a:r>
          </a:p>
        </p:txBody>
      </p:sp>
      <p:sp>
        <p:nvSpPr>
          <p:cNvPr id="89" name="TextBox 88">
            <a:extLst/>
          </p:cNvPr>
          <p:cNvSpPr txBox="1"/>
          <p:nvPr/>
        </p:nvSpPr>
        <p:spPr>
          <a:xfrm>
            <a:off x="8358890" y="5616882"/>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a:t>
            </a:r>
          </a:p>
        </p:txBody>
      </p:sp>
      <p:grpSp>
        <p:nvGrpSpPr>
          <p:cNvPr id="8" name="Group 7"/>
          <p:cNvGrpSpPr/>
          <p:nvPr/>
        </p:nvGrpSpPr>
        <p:grpSpPr>
          <a:xfrm>
            <a:off x="2202442" y="2506441"/>
            <a:ext cx="1075558" cy="1075558"/>
            <a:chOff x="2246042" y="2265784"/>
            <a:chExt cx="1097280" cy="1097280"/>
          </a:xfrm>
        </p:grpSpPr>
        <p:sp>
          <p:nvSpPr>
            <p:cNvPr id="91" name="Oval 90"/>
            <p:cNvSpPr/>
            <p:nvPr/>
          </p:nvSpPr>
          <p:spPr bwMode="auto">
            <a:xfrm>
              <a:off x="2246042"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11" name="Group 10"/>
          <p:cNvGrpSpPr/>
          <p:nvPr/>
        </p:nvGrpSpPr>
        <p:grpSpPr>
          <a:xfrm>
            <a:off x="5632887" y="2506441"/>
            <a:ext cx="1075558" cy="1075558"/>
            <a:chOff x="5745770" y="2265784"/>
            <a:chExt cx="1097280" cy="1097280"/>
          </a:xfrm>
        </p:grpSpPr>
        <p:sp>
          <p:nvSpPr>
            <p:cNvPr id="94" name="Oval 93"/>
            <p:cNvSpPr/>
            <p:nvPr/>
          </p:nvSpPr>
          <p:spPr bwMode="auto">
            <a:xfrm>
              <a:off x="5745770"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8" name="Picture 10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12" name="Group 11"/>
          <p:cNvGrpSpPr/>
          <p:nvPr/>
        </p:nvGrpSpPr>
        <p:grpSpPr>
          <a:xfrm>
            <a:off x="9026998" y="2506441"/>
            <a:ext cx="1075558" cy="1075558"/>
            <a:chOff x="9208431" y="2265784"/>
            <a:chExt cx="1097280" cy="1097280"/>
          </a:xfrm>
        </p:grpSpPr>
        <p:sp>
          <p:nvSpPr>
            <p:cNvPr id="97" name="Oval 96"/>
            <p:cNvSpPr/>
            <p:nvPr/>
          </p:nvSpPr>
          <p:spPr bwMode="auto">
            <a:xfrm>
              <a:off x="9208431"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9" name="Group 8"/>
          <p:cNvGrpSpPr/>
          <p:nvPr/>
        </p:nvGrpSpPr>
        <p:grpSpPr>
          <a:xfrm>
            <a:off x="2202442" y="4477970"/>
            <a:ext cx="1075558" cy="1075558"/>
            <a:chOff x="2246042" y="4538388"/>
            <a:chExt cx="1097280" cy="1097280"/>
          </a:xfrm>
        </p:grpSpPr>
        <p:sp>
          <p:nvSpPr>
            <p:cNvPr id="100" name="Oval 99"/>
            <p:cNvSpPr/>
            <p:nvPr/>
          </p:nvSpPr>
          <p:spPr bwMode="auto">
            <a:xfrm>
              <a:off x="2246042"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10" name="Group 9"/>
          <p:cNvGrpSpPr/>
          <p:nvPr/>
        </p:nvGrpSpPr>
        <p:grpSpPr>
          <a:xfrm>
            <a:off x="5632887" y="4477970"/>
            <a:ext cx="1075558" cy="1075558"/>
            <a:chOff x="5745770" y="4538388"/>
            <a:chExt cx="1097280" cy="1097280"/>
          </a:xfrm>
        </p:grpSpPr>
        <p:sp>
          <p:nvSpPr>
            <p:cNvPr id="103" name="Oval 102"/>
            <p:cNvSpPr/>
            <p:nvPr/>
          </p:nvSpPr>
          <p:spPr bwMode="auto">
            <a:xfrm>
              <a:off x="5745770"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13" name="Group 12"/>
          <p:cNvGrpSpPr/>
          <p:nvPr/>
        </p:nvGrpSpPr>
        <p:grpSpPr>
          <a:xfrm>
            <a:off x="9026998" y="4477970"/>
            <a:ext cx="1075558" cy="1075558"/>
            <a:chOff x="9208431" y="4538388"/>
            <a:chExt cx="1097280" cy="1097280"/>
          </a:xfrm>
        </p:grpSpPr>
        <p:sp>
          <p:nvSpPr>
            <p:cNvPr id="106" name="Oval 105"/>
            <p:cNvSpPr/>
            <p:nvPr/>
          </p:nvSpPr>
          <p:spPr bwMode="auto">
            <a:xfrm>
              <a:off x="9208431"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2" name="Picture 1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 name="Group 2">
            <a:extLst>
              <a:ext uri="{FF2B5EF4-FFF2-40B4-BE49-F238E27FC236}">
                <a16:creationId xmlns:a16="http://schemas.microsoft.com/office/drawing/2014/main" id="{5D9D6020-22B1-49BA-BCE1-9029ACC15F25}"/>
              </a:ext>
            </a:extLst>
          </p:cNvPr>
          <p:cNvGrpSpPr/>
          <p:nvPr/>
        </p:nvGrpSpPr>
        <p:grpSpPr>
          <a:xfrm>
            <a:off x="864" y="254613"/>
            <a:ext cx="1188839" cy="956984"/>
            <a:chOff x="881" y="259222"/>
            <a:chExt cx="1212678" cy="976174"/>
          </a:xfrm>
        </p:grpSpPr>
        <p:sp>
          <p:nvSpPr>
            <p:cNvPr id="48" name="Rectangle 47"/>
            <p:cNvSpPr/>
            <p:nvPr/>
          </p:nvSpPr>
          <p:spPr bwMode="auto">
            <a:xfrm>
              <a:off x="881" y="259222"/>
              <a:ext cx="1212678" cy="9761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6A0A42F5-0DBB-431F-947F-1E02AC3265FC}"/>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302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0-#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par>
                                <p:cTn id="24" presetID="53" presetClass="entr" presetSubtype="16"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53" presetClass="entr" presetSubtype="16"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53" presetClass="entr" presetSubtype="16"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fade">
                                      <p:cBhvr>
                                        <p:cTn id="47" dur="500"/>
                                        <p:tgtEl>
                                          <p:spTgt spid="8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5"/>
                                        </p:tgtEl>
                                        <p:attrNameLst>
                                          <p:attrName>style.visibility</p:attrName>
                                        </p:attrNameLst>
                                      </p:cBhvr>
                                      <p:to>
                                        <p:strVal val="visible"/>
                                      </p:to>
                                    </p:set>
                                    <p:animEffect transition="in" filter="fade">
                                      <p:cBhvr>
                                        <p:cTn id="53" dur="500"/>
                                        <p:tgtEl>
                                          <p:spTgt spid="8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7"/>
                                        </p:tgtEl>
                                        <p:attrNameLst>
                                          <p:attrName>style.visibility</p:attrName>
                                        </p:attrNameLst>
                                      </p:cBhvr>
                                      <p:to>
                                        <p:strVal val="visible"/>
                                      </p:to>
                                    </p:set>
                                    <p:animEffect transition="in" filter="fade">
                                      <p:cBhvr>
                                        <p:cTn id="68" dur="500"/>
                                        <p:tgtEl>
                                          <p:spTgt spid="8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500"/>
                                        <p:tgtEl>
                                          <p:spTgt spid="8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0"/>
                                        </p:tgtEl>
                                        <p:attrNameLst>
                                          <p:attrName>style.visibility</p:attrName>
                                        </p:attrNameLst>
                                      </p:cBhvr>
                                      <p:to>
                                        <p:strVal val="visible"/>
                                      </p:to>
                                    </p:set>
                                    <p:animEffect transition="in" filter="fade">
                                      <p:cBhvr>
                                        <p:cTn id="80" dur="500"/>
                                        <p:tgtEl>
                                          <p:spTgt spid="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9CE4CF-32D6-4F51-AEA4-AEE46705DEEB}"/>
              </a:ext>
            </a:extLst>
          </p:cNvPr>
          <p:cNvGrpSpPr/>
          <p:nvPr/>
        </p:nvGrpSpPr>
        <p:grpSpPr>
          <a:xfrm>
            <a:off x="6450744" y="1777362"/>
            <a:ext cx="5296755" cy="3303276"/>
            <a:chOff x="5527174" y="-1276"/>
            <a:chExt cx="6220326" cy="3879253"/>
          </a:xfrm>
        </p:grpSpPr>
        <p:pic>
          <p:nvPicPr>
            <p:cNvPr id="7" name="Picture 6"/>
            <p:cNvPicPr>
              <a:picLocks noChangeAspect="1"/>
            </p:cNvPicPr>
            <p:nvPr/>
          </p:nvPicPr>
          <p:blipFill>
            <a:blip r:embed="rId3"/>
            <a:stretch>
              <a:fillRect/>
            </a:stretch>
          </p:blipFill>
          <p:spPr>
            <a:xfrm>
              <a:off x="5638800" y="457200"/>
              <a:ext cx="6108700" cy="3420777"/>
            </a:xfrm>
            <a:prstGeom prst="rect">
              <a:avLst/>
            </a:prstGeom>
          </p:spPr>
        </p:pic>
        <p:sp>
          <p:nvSpPr>
            <p:cNvPr id="8" name="Rectangle 7"/>
            <p:cNvSpPr/>
            <p:nvPr/>
          </p:nvSpPr>
          <p:spPr>
            <a:xfrm>
              <a:off x="5527174" y="-1276"/>
              <a:ext cx="2420856" cy="369332"/>
            </a:xfrm>
            <a:prstGeom prst="rect">
              <a:avLst/>
            </a:prstGeom>
          </p:spPr>
          <p:txBody>
            <a:bodyPr wrap="none">
              <a:spAutoFit/>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gradFill>
                    <a:gsLst>
                      <a:gs pos="84066">
                        <a:srgbClr val="FFFFFF"/>
                      </a:gs>
                      <a:gs pos="57576">
                        <a:srgbClr val="FFFFFF"/>
                      </a:gs>
                    </a:gsLst>
                    <a:lin ang="5400000" scaled="0"/>
                  </a:gradFill>
                  <a:effectLst/>
                  <a:uLnTx/>
                  <a:uFillTx/>
                  <a:latin typeface="Segoe UI"/>
                  <a:ea typeface="+mn-ea"/>
                  <a:cs typeface="Segoe UI Semilight" panose="020B0402040204020203" pitchFamily="34" charset="0"/>
                </a:rPr>
                <a:t>INTELLIGENT KIOSK</a:t>
              </a:r>
            </a:p>
          </p:txBody>
        </p:sp>
      </p:grpSp>
      <p:sp>
        <p:nvSpPr>
          <p:cNvPr id="3" name="Title 2">
            <a:extLst>
              <a:ext uri="{FF2B5EF4-FFF2-40B4-BE49-F238E27FC236}">
                <a16:creationId xmlns:a16="http://schemas.microsoft.com/office/drawing/2014/main" id="{1C85DE58-7E61-4F4B-936C-5670D5CF22BB}"/>
              </a:ext>
            </a:extLst>
          </p:cNvPr>
          <p:cNvSpPr>
            <a:spLocks noGrp="1"/>
          </p:cNvSpPr>
          <p:nvPr>
            <p:ph type="title"/>
          </p:nvPr>
        </p:nvSpPr>
        <p:spPr/>
        <p:txBody>
          <a:bodyPr/>
          <a:lstStyle/>
          <a:p>
            <a:r>
              <a:rPr lang="en-US"/>
              <a:t>DEMONSTRATIONS</a:t>
            </a:r>
          </a:p>
        </p:txBody>
      </p:sp>
    </p:spTree>
    <p:extLst>
      <p:ext uri="{BB962C8B-B14F-4D97-AF65-F5344CB8AC3E}">
        <p14:creationId xmlns:p14="http://schemas.microsoft.com/office/powerpoint/2010/main" val="82440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27" name="Rectangle 26"/>
          <p:cNvSpPr/>
          <p:nvPr/>
        </p:nvSpPr>
        <p:spPr>
          <a:xfrm>
            <a:off x="3830760" y="5076629"/>
            <a:ext cx="7519411" cy="646331"/>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mputer Vision | Content Moderator | Emotion | Face | Video Indexer | Custom Vision Service</a:t>
            </a:r>
          </a:p>
        </p:txBody>
      </p:sp>
      <p:sp>
        <p:nvSpPr>
          <p:cNvPr id="2" name="Title 1">
            <a:extLst>
              <a:ext uri="{FF2B5EF4-FFF2-40B4-BE49-F238E27FC236}">
                <a16:creationId xmlns:a16="http://schemas.microsoft.com/office/drawing/2014/main" id="{CF9C686F-4DAF-4D02-9CD4-64E8837ADE68}"/>
              </a:ext>
            </a:extLst>
          </p:cNvPr>
          <p:cNvSpPr>
            <a:spLocks noGrp="1"/>
          </p:cNvSpPr>
          <p:nvPr>
            <p:ph type="title"/>
          </p:nvPr>
        </p:nvSpPr>
        <p:spPr>
          <a:xfrm>
            <a:off x="269240" y="3891410"/>
            <a:ext cx="3010989" cy="1814065"/>
          </a:xfrm>
        </p:spPr>
        <p:txBody>
          <a:bodyPr/>
          <a:lstStyle/>
          <a:p>
            <a:r>
              <a:rPr lang="en-US"/>
              <a:t>VISION</a:t>
            </a:r>
          </a:p>
        </p:txBody>
      </p:sp>
      <p:pic>
        <p:nvPicPr>
          <p:cNvPr id="7" name="Picture 6">
            <a:extLst>
              <a:ext uri="{FF2B5EF4-FFF2-40B4-BE49-F238E27FC236}">
                <a16:creationId xmlns:a16="http://schemas.microsoft.com/office/drawing/2014/main" id="{658B7469-C7FD-48A5-AD20-CDC0544320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40" y="2982810"/>
            <a:ext cx="838542" cy="838542"/>
          </a:xfrm>
          <a:prstGeom prst="rect">
            <a:avLst/>
          </a:prstGeom>
        </p:spPr>
      </p:pic>
    </p:spTree>
    <p:extLst>
      <p:ext uri="{BB962C8B-B14F-4D97-AF65-F5344CB8AC3E}">
        <p14:creationId xmlns:p14="http://schemas.microsoft.com/office/powerpoint/2010/main" val="160001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descr="https://microsoft.sharepoint.com/teams/BrandCentral/BundleImages/250MSC12_Nancy_0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958640"/>
            <a:ext cx="5067300" cy="468948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ze an image</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nderstand content within an image</a:t>
            </a:r>
            <a:endParaRPr kumimoji="0" lang="en-US" altLang="zh-CN"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CR</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and recognize words within 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enerate thumbnail</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ale and crop images, while retaining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key cont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celebrities</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nks to domain specific models, ability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o recognize </a:t>
            </a: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200K celebrities from business, politics, sports and entertainment around </a:t>
            </a:r>
            <a:b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e world</a:t>
            </a:r>
          </a:p>
          <a:p>
            <a:pPr marL="0" marR="0" lvl="0" indent="0" algn="l" defTabSz="895838" rtl="0" eaLnBrk="1" fontAlgn="auto" latinLnBrk="0" hangingPunct="1">
              <a:lnSpc>
                <a:spcPct val="90000"/>
              </a:lnSpc>
              <a:spcBef>
                <a:spcPts val="0"/>
              </a:spcBef>
              <a:spcAft>
                <a:spcPts val="1763"/>
              </a:spcAft>
              <a:buClrTx/>
              <a:buSzTx/>
              <a:buFontTx/>
              <a:buNone/>
              <a:tabLst/>
              <a:defRPr/>
            </a:pP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Computer </a:t>
            </a:r>
            <a:br>
              <a:rPr lang="en-US" sz="4800" dirty="0"/>
            </a:br>
            <a:r>
              <a:rPr lang="en-US" sz="4800" dirty="0"/>
              <a:t>Vis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9C64C92-55D0-4559-853E-CC60BCD623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0052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0" t="1414" r="20107" b="547"/>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533069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of image</a:t>
            </a:r>
            <a:endPar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76358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lip Art Type 	0 Non-clipart</a:t>
            </a:r>
          </a:p>
          <a:p>
            <a:pPr marL="0" marR="0" lvl="0" indent="0" algn="l" defTabSz="89583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ine Drawing Type 	0 Non-Line Drawing</a:t>
            </a:r>
          </a:p>
          <a:p>
            <a:pPr marL="0" marR="0" lvl="0" indent="0" algn="l" defTabSz="7429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lack &amp; White Image 	Fals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nt of image</a:t>
            </a:r>
            <a:endParaRPr kumimoji="0" lang="en-US" altLang="zh-CN"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1431925" marR="0" lvl="0" indent="-1431925" algn="l" defTabSz="7239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ategori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am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people_swimming</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score”: 0.099609375 }]</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Content	False</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Score	0.18533889949321747</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ac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ge”: 27, “gender”: “Mal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left”: 472, “top”: 258, “width”: 199, “height”: 199}}]</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colors</a:t>
            </a:r>
          </a:p>
          <a:p>
            <a:pPr marL="0" marR="0" lvl="0" indent="0" algn="l" defTabSz="730250" rtl="0" eaLnBrk="1" fontAlgn="auto" latinLnBrk="0" hangingPunct="1">
              <a:lnSpc>
                <a:spcPct val="90000"/>
              </a:lnSpc>
              <a:spcBef>
                <a:spcPts val="600"/>
              </a:spcBef>
              <a:spcAft>
                <a:spcPts val="0"/>
              </a:spcAft>
              <a:buClrTx/>
              <a:buSzTx/>
              <a:buFontTx/>
              <a:buNone/>
              <a:tabLst>
                <a:tab pos="2798763"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Background		White</a:t>
            </a:r>
          </a:p>
          <a:p>
            <a:pPr marL="0" marR="0" lvl="0" indent="0" algn="l" defTabSz="730250" rtl="0" eaLnBrk="1" fontAlgn="auto" latinLnBrk="0" hangingPunct="1">
              <a:lnSpc>
                <a:spcPct val="90000"/>
              </a:lnSpc>
              <a:spcBef>
                <a:spcPts val="600"/>
              </a:spcBef>
              <a:spcAft>
                <a:spcPts val="0"/>
              </a:spcAft>
              <a:buClrTx/>
              <a:buSzTx/>
              <a:buFontTx/>
              <a:buNone/>
              <a:tabLst>
                <a:tab pos="291782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Foreground		Grey</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s			White</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cent Color</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135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xEl>
                                              <p:pRg st="4" end="4"/>
                                            </p:txEl>
                                          </p:spTgt>
                                        </p:tgtEl>
                                        <p:attrNameLst>
                                          <p:attrName>style.visibility</p:attrName>
                                        </p:attrNameLst>
                                      </p:cBhvr>
                                      <p:to>
                                        <p:strVal val="visible"/>
                                      </p:to>
                                    </p:set>
                                    <p:animEffect transition="in" filter="fade">
                                      <p:cBhvr>
                                        <p:cTn id="21" dur="500"/>
                                        <p:tgtEl>
                                          <p:spTgt spid="1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xEl>
                                              <p:pRg st="5" end="5"/>
                                            </p:txEl>
                                          </p:spTgt>
                                        </p:tgtEl>
                                        <p:attrNameLst>
                                          <p:attrName>style.visibility</p:attrName>
                                        </p:attrNameLst>
                                      </p:cBhvr>
                                      <p:to>
                                        <p:strVal val="visible"/>
                                      </p:to>
                                    </p:set>
                                    <p:animEffect transition="in" filter="fade">
                                      <p:cBhvr>
                                        <p:cTn id="24" dur="500"/>
                                        <p:tgtEl>
                                          <p:spTgt spid="16">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xEl>
                                              <p:pRg st="6" end="6"/>
                                            </p:txEl>
                                          </p:spTgt>
                                        </p:tgtEl>
                                        <p:attrNameLst>
                                          <p:attrName>style.visibility</p:attrName>
                                        </p:attrNameLst>
                                      </p:cBhvr>
                                      <p:to>
                                        <p:strVal val="visible"/>
                                      </p:to>
                                    </p:set>
                                    <p:animEffect transition="in" filter="fade">
                                      <p:cBhvr>
                                        <p:cTn id="27" dur="500"/>
                                        <p:tgtEl>
                                          <p:spTgt spid="16">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xEl>
                                              <p:pRg st="7" end="7"/>
                                            </p:txEl>
                                          </p:spTgt>
                                        </p:tgtEl>
                                        <p:attrNameLst>
                                          <p:attrName>style.visibility</p:attrName>
                                        </p:attrNameLst>
                                      </p:cBhvr>
                                      <p:to>
                                        <p:strVal val="visible"/>
                                      </p:to>
                                    </p:set>
                                    <p:animEffect transition="in" filter="fade">
                                      <p:cBhvr>
                                        <p:cTn id="30" dur="500"/>
                                        <p:tgtEl>
                                          <p:spTgt spid="16">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xEl>
                                              <p:pRg st="8" end="8"/>
                                            </p:txEl>
                                          </p:spTgt>
                                        </p:tgtEl>
                                        <p:attrNameLst>
                                          <p:attrName>style.visibility</p:attrName>
                                        </p:attrNameLst>
                                      </p:cBhvr>
                                      <p:to>
                                        <p:strVal val="visible"/>
                                      </p:to>
                                    </p:set>
                                    <p:animEffect transition="in" filter="fade">
                                      <p:cBhvr>
                                        <p:cTn id="33" dur="500"/>
                                        <p:tgtEl>
                                          <p:spTgt spid="16">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6">
                                            <p:txEl>
                                              <p:pRg st="9" end="9"/>
                                            </p:txEl>
                                          </p:spTgt>
                                        </p:tgtEl>
                                        <p:attrNameLst>
                                          <p:attrName>style.visibility</p:attrName>
                                        </p:attrNameLst>
                                      </p:cBhvr>
                                      <p:to>
                                        <p:strVal val="visible"/>
                                      </p:to>
                                    </p:set>
                                    <p:animEffect transition="in" filter="fade">
                                      <p:cBhvr>
                                        <p:cTn id="38" dur="500"/>
                                        <p:tgtEl>
                                          <p:spTgt spid="16">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xEl>
                                              <p:pRg st="10" end="10"/>
                                            </p:txEl>
                                          </p:spTgt>
                                        </p:tgtEl>
                                        <p:attrNameLst>
                                          <p:attrName>style.visibility</p:attrName>
                                        </p:attrNameLst>
                                      </p:cBhvr>
                                      <p:to>
                                        <p:strVal val="visible"/>
                                      </p:to>
                                    </p:set>
                                    <p:animEffect transition="in" filter="fade">
                                      <p:cBhvr>
                                        <p:cTn id="41" dur="500"/>
                                        <p:tgtEl>
                                          <p:spTgt spid="16">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xEl>
                                              <p:pRg st="11" end="11"/>
                                            </p:txEl>
                                          </p:spTgt>
                                        </p:tgtEl>
                                        <p:attrNameLst>
                                          <p:attrName>style.visibility</p:attrName>
                                        </p:attrNameLst>
                                      </p:cBhvr>
                                      <p:to>
                                        <p:strVal val="visible"/>
                                      </p:to>
                                    </p:set>
                                    <p:animEffect transition="in" filter="fade">
                                      <p:cBhvr>
                                        <p:cTn id="44" dur="500"/>
                                        <p:tgtEl>
                                          <p:spTgt spid="16">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xEl>
                                              <p:pRg st="12" end="12"/>
                                            </p:txEl>
                                          </p:spTgt>
                                        </p:tgtEl>
                                        <p:attrNameLst>
                                          <p:attrName>style.visibility</p:attrName>
                                        </p:attrNameLst>
                                      </p:cBhvr>
                                      <p:to>
                                        <p:strVal val="visible"/>
                                      </p:to>
                                    </p:set>
                                    <p:animEffect transition="in" filter="fade">
                                      <p:cBhvr>
                                        <p:cTn id="47" dur="500"/>
                                        <p:tgtEl>
                                          <p:spTgt spid="16">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xEl>
                                              <p:pRg st="13" end="13"/>
                                            </p:txEl>
                                          </p:spTgt>
                                        </p:tgtEl>
                                        <p:attrNameLst>
                                          <p:attrName>style.visibility</p:attrName>
                                        </p:attrNameLst>
                                      </p:cBhvr>
                                      <p:to>
                                        <p:strVal val="visible"/>
                                      </p:to>
                                    </p:set>
                                    <p:animEffect transition="in" filter="fade">
                                      <p:cBhvr>
                                        <p:cTn id="50"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Introduction to </a:t>
            </a:r>
            <a:br>
              <a:rPr lang="en-US" dirty="0"/>
            </a:br>
            <a:r>
              <a:rPr lang="en-US" dirty="0"/>
              <a:t>Azure Cognitive Services</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p:txBody>
          <a:bodyPr/>
          <a:lstStyle/>
          <a:p>
            <a:r>
              <a:rPr lang="en-US" dirty="0"/>
              <a:t>Nithin Mohan T K, Senior Specialist - Pramerica</a:t>
            </a:r>
          </a:p>
        </p:txBody>
      </p:sp>
      <p:pic>
        <p:nvPicPr>
          <p:cNvPr id="10" name="Picture 9">
            <a:extLst>
              <a:ext uri="{FF2B5EF4-FFF2-40B4-BE49-F238E27FC236}">
                <a16:creationId xmlns:a16="http://schemas.microsoft.com/office/drawing/2014/main" id="{F8EB23AE-FC6C-FF43-AF42-8E0887C43C71}"/>
              </a:ext>
            </a:extLst>
          </p:cNvPr>
          <p:cNvPicPr>
            <a:picLocks noChangeAspect="1"/>
          </p:cNvPicPr>
          <p:nvPr/>
        </p:nvPicPr>
        <p:blipFill>
          <a:blip r:embed="rId3">
            <a:duotone>
              <a:schemeClr val="accent5">
                <a:shade val="45000"/>
                <a:satMod val="135000"/>
              </a:schemeClr>
              <a:prstClr val="white"/>
            </a:duotone>
          </a:blip>
          <a:stretch>
            <a:fillRect/>
          </a:stretch>
        </p:blipFill>
        <p:spPr>
          <a:xfrm>
            <a:off x="6300073" y="5965166"/>
            <a:ext cx="484632" cy="484632"/>
          </a:xfrm>
          <a:prstGeom prst="rect">
            <a:avLst/>
          </a:prstGeom>
        </p:spPr>
      </p:pic>
      <p:pic>
        <p:nvPicPr>
          <p:cNvPr id="12" name="Picture 11">
            <a:extLst>
              <a:ext uri="{FF2B5EF4-FFF2-40B4-BE49-F238E27FC236}">
                <a16:creationId xmlns:a16="http://schemas.microsoft.com/office/drawing/2014/main" id="{E0AF52F9-E419-0247-B75E-44FF359C2014}"/>
              </a:ext>
            </a:extLst>
          </p:cNvPr>
          <p:cNvPicPr>
            <a:picLocks noChangeAspect="1"/>
          </p:cNvPicPr>
          <p:nvPr/>
        </p:nvPicPr>
        <p:blipFill>
          <a:blip r:embed="rId4">
            <a:duotone>
              <a:schemeClr val="accent5">
                <a:shade val="45000"/>
                <a:satMod val="135000"/>
              </a:schemeClr>
              <a:prstClr val="white"/>
            </a:duotone>
          </a:blip>
          <a:stretch>
            <a:fillRect/>
          </a:stretch>
        </p:blipFill>
        <p:spPr>
          <a:xfrm>
            <a:off x="2034707" y="5965028"/>
            <a:ext cx="484909" cy="484909"/>
          </a:xfrm>
          <a:prstGeom prst="rect">
            <a:avLst/>
          </a:prstGeom>
        </p:spPr>
      </p:pic>
      <p:sp>
        <p:nvSpPr>
          <p:cNvPr id="13" name="Text Placeholder 6">
            <a:extLst>
              <a:ext uri="{FF2B5EF4-FFF2-40B4-BE49-F238E27FC236}">
                <a16:creationId xmlns:a16="http://schemas.microsoft.com/office/drawing/2014/main" id="{27713E6B-298F-2447-930D-E39C9923B7C9}"/>
              </a:ext>
            </a:extLst>
          </p:cNvPr>
          <p:cNvSpPr txBox="1">
            <a:spLocks/>
          </p:cNvSpPr>
          <p:nvPr/>
        </p:nvSpPr>
        <p:spPr>
          <a:xfrm>
            <a:off x="2610742" y="5961261"/>
            <a:ext cx="3600053" cy="492443"/>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nithinmohantk</a:t>
            </a:r>
          </a:p>
        </p:txBody>
      </p:sp>
      <p:sp>
        <p:nvSpPr>
          <p:cNvPr id="14" name="Text Placeholder 6">
            <a:extLst>
              <a:ext uri="{FF2B5EF4-FFF2-40B4-BE49-F238E27FC236}">
                <a16:creationId xmlns:a16="http://schemas.microsoft.com/office/drawing/2014/main" id="{03F6C500-D3C0-2E40-B483-6C5079AD462D}"/>
              </a:ext>
            </a:extLst>
          </p:cNvPr>
          <p:cNvSpPr txBox="1">
            <a:spLocks/>
          </p:cNvSpPr>
          <p:nvPr/>
        </p:nvSpPr>
        <p:spPr>
          <a:xfrm>
            <a:off x="6873983" y="5961261"/>
            <a:ext cx="4027565" cy="492443"/>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in/nithinmohantk</a:t>
            </a:r>
          </a:p>
        </p:txBody>
      </p:sp>
    </p:spTree>
    <p:extLst>
      <p:ext uri="{BB962C8B-B14F-4D97-AF65-F5344CB8AC3E}">
        <p14:creationId xmlns:p14="http://schemas.microsoft.com/office/powerpoint/2010/main" val="186999932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309623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ife is like riding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bicycl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o keep your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alance you must keep mov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536DBE4-071E-4EAC-B72B-28D6C58AEA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962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4945969"/>
          </a:xfrm>
          <a:prstGeom prst="rect">
            <a:avLst/>
          </a:prstGeom>
        </p:spPr>
        <p:txBody>
          <a:bodyPr wrap="square" lIns="182880" tIns="146304" rIns="182880" bIns="146304">
            <a:spAutoFit/>
          </a:bodyPr>
          <a:lstStyle/>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JSON:</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anguage":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en</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orientation": "Up",</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region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918,440",</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ine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723,89",</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word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102,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F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356,89,94,62",</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IS"</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539,77,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K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323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47B91437-0A04-4012-A41B-5EBDCB937881}"/>
              </a:ext>
            </a:extLst>
          </p:cNvPr>
          <p:cNvSpPr/>
          <p:nvPr/>
        </p:nvSpPr>
        <p:spPr>
          <a:xfrm>
            <a:off x="266701" y="1325903"/>
            <a:ext cx="5067300" cy="303775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ood at</a:t>
            </a:r>
            <a:endParaRPr kumimoji="0" lang="en-US" altLang="zh-CN" sz="3200" b="0" i="0" u="none" strike="noStrike" kern="0" cap="none"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nned documen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hotos with tex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ine grained </a:t>
            </a:r>
            <a:b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tion information</a:t>
            </a:r>
          </a:p>
        </p:txBody>
      </p:sp>
      <p:pic>
        <p:nvPicPr>
          <p:cNvPr id="9" name="Picture 8">
            <a:extLst>
              <a:ext uri="{FF2B5EF4-FFF2-40B4-BE49-F238E27FC236}">
                <a16:creationId xmlns:a16="http://schemas.microsoft.com/office/drawing/2014/main" id="{16FD7E9A-0B5C-4292-A716-825F570CCD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271657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033745-9306-4A00-95CB-6B87D59BF76A}"/>
              </a:ext>
            </a:extLst>
          </p:cNvPr>
          <p:cNvSpPr/>
          <p:nvPr/>
        </p:nvSpPr>
        <p:spPr bwMode="auto">
          <a:xfrm>
            <a:off x="5638800" y="0"/>
            <a:ext cx="6595116"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0" y="0"/>
            <a:ext cx="5638800" cy="685800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r>
              <a:rPr lang="en-US" sz="4800"/>
              <a:t>Smart </a:t>
            </a:r>
            <a:br>
              <a:rPr lang="en-US" sz="4800"/>
            </a:br>
            <a:r>
              <a:rPr lang="en-US" sz="4800"/>
              <a:t>thumbnail</a:t>
            </a:r>
          </a:p>
        </p:txBody>
      </p:sp>
      <p:sp>
        <p:nvSpPr>
          <p:cNvPr id="29" name="Rectangle 28">
            <a:extLst>
              <a:ext uri="{FF2B5EF4-FFF2-40B4-BE49-F238E27FC236}">
                <a16:creationId xmlns:a16="http://schemas.microsoft.com/office/drawing/2014/main" id="{47B91437-0A04-4012-A41B-5EBDCB937881}"/>
              </a:ext>
            </a:extLst>
          </p:cNvPr>
          <p:cNvSpPr/>
          <p:nvPr/>
        </p:nvSpPr>
        <p:spPr>
          <a:xfrm>
            <a:off x="266701"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f</a:t>
            </a:r>
          </a:p>
        </p:txBody>
      </p:sp>
      <p:grpSp>
        <p:nvGrpSpPr>
          <p:cNvPr id="14" name="Group 13">
            <a:extLst>
              <a:ext uri="{FF2B5EF4-FFF2-40B4-BE49-F238E27FC236}">
                <a16:creationId xmlns:a16="http://schemas.microsoft.com/office/drawing/2014/main" id="{D0774F0F-0BEA-4914-A723-11A4F557BD88}"/>
              </a:ext>
            </a:extLst>
          </p:cNvPr>
          <p:cNvGrpSpPr/>
          <p:nvPr/>
        </p:nvGrpSpPr>
        <p:grpSpPr>
          <a:xfrm>
            <a:off x="5735103" y="807748"/>
            <a:ext cx="6538109" cy="5410131"/>
            <a:chOff x="5347119" y="1040959"/>
            <a:chExt cx="6833868" cy="5654863"/>
          </a:xfrm>
        </p:grpSpPr>
        <p:pic>
          <p:nvPicPr>
            <p:cNvPr id="15" name="Picture 14">
              <a:extLst>
                <a:ext uri="{FF2B5EF4-FFF2-40B4-BE49-F238E27FC236}">
                  <a16:creationId xmlns:a16="http://schemas.microsoft.com/office/drawing/2014/main" id="{A82CCC3A-2EE4-4B93-95F8-F33B891A4A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7119" y="1040959"/>
              <a:ext cx="6833868" cy="2838348"/>
            </a:xfrm>
            <a:prstGeom prst="rect">
              <a:avLst/>
            </a:prstGeom>
          </p:spPr>
        </p:pic>
        <p:pic>
          <p:nvPicPr>
            <p:cNvPr id="16" name="Picture 15">
              <a:extLst>
                <a:ext uri="{FF2B5EF4-FFF2-40B4-BE49-F238E27FC236}">
                  <a16:creationId xmlns:a16="http://schemas.microsoft.com/office/drawing/2014/main" id="{4DD257CD-1D93-4892-8B0B-5E92CD4313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7119" y="3879307"/>
              <a:ext cx="6833868" cy="2816515"/>
            </a:xfrm>
            <a:prstGeom prst="rect">
              <a:avLst/>
            </a:prstGeom>
          </p:spPr>
        </p:pic>
      </p:grpSp>
      <p:pic>
        <p:nvPicPr>
          <p:cNvPr id="17" name="Picture 16">
            <a:extLst>
              <a:ext uri="{FF2B5EF4-FFF2-40B4-BE49-F238E27FC236}">
                <a16:creationId xmlns:a16="http://schemas.microsoft.com/office/drawing/2014/main" id="{61B2C1D4-66A1-4F4C-A891-9ED00692699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093" t="7048"/>
          <a:stretch/>
        </p:blipFill>
        <p:spPr>
          <a:xfrm>
            <a:off x="9234093" y="1076303"/>
            <a:ext cx="2877766" cy="2322290"/>
          </a:xfrm>
          <a:prstGeom prst="rect">
            <a:avLst/>
          </a:prstGeom>
        </p:spPr>
      </p:pic>
      <p:pic>
        <p:nvPicPr>
          <p:cNvPr id="19" name="Picture 18">
            <a:extLst>
              <a:ext uri="{FF2B5EF4-FFF2-40B4-BE49-F238E27FC236}">
                <a16:creationId xmlns:a16="http://schemas.microsoft.com/office/drawing/2014/main" id="{D277AFBB-A1E8-4C7D-A46B-F3E3F688E10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800" t="5337"/>
          <a:stretch/>
        </p:blipFill>
        <p:spPr>
          <a:xfrm>
            <a:off x="9234092" y="3771303"/>
            <a:ext cx="2856687" cy="2302844"/>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3430F2B-0C36-42A7-A6F0-E5C9C36506AB}"/>
              </a:ext>
            </a:extLst>
          </p:cNvPr>
          <p:cNvSpPr/>
          <p:nvPr/>
        </p:nvSpPr>
        <p:spPr>
          <a:xfrm>
            <a:off x="266700"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n</a:t>
            </a:r>
          </a:p>
        </p:txBody>
      </p:sp>
      <p:pic>
        <p:nvPicPr>
          <p:cNvPr id="7" name="Picture 6">
            <a:extLst>
              <a:ext uri="{FF2B5EF4-FFF2-40B4-BE49-F238E27FC236}">
                <a16:creationId xmlns:a16="http://schemas.microsoft.com/office/drawing/2014/main" id="{CF605512-545E-4D3F-8171-13CB48E0A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134754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9"/>
                                        </p:tgtEl>
                                      </p:cBhvr>
                                    </p:animEffect>
                                    <p:set>
                                      <p:cBhvr>
                                        <p:cTn id="13" dur="1" fill="hold">
                                          <p:stCondLst>
                                            <p:cond delay="499"/>
                                          </p:stCondLst>
                                        </p:cTn>
                                        <p:tgtEl>
                                          <p:spTgt spid="2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6DA578-32DD-4921-BDCB-DF937B7D56C6}"/>
              </a:ext>
            </a:extLst>
          </p:cNvPr>
          <p:cNvPicPr>
            <a:picLocks noChangeAspect="1"/>
          </p:cNvPicPr>
          <p:nvPr/>
        </p:nvPicPr>
        <p:blipFill rotWithShape="1">
          <a:blip r:embed="rId3"/>
          <a:srcRect l="36857" r="12535" b="-38"/>
          <a:stretch/>
        </p:blipFill>
        <p:spPr>
          <a:xfrm>
            <a:off x="6096000" y="486"/>
            <a:ext cx="6172973" cy="6857513"/>
          </a:xfrm>
          <a:prstGeom prst="rect">
            <a:avLst/>
          </a:prstGeom>
        </p:spPr>
      </p:pic>
      <p:pic>
        <p:nvPicPr>
          <p:cNvPr id="10" name="Picture 9">
            <a:extLst>
              <a:ext uri="{FF2B5EF4-FFF2-40B4-BE49-F238E27FC236}">
                <a16:creationId xmlns:a16="http://schemas.microsoft.com/office/drawing/2014/main" id="{0336AD20-98DF-40B4-9B84-45CB3B35988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4500" y="457200"/>
            <a:ext cx="2999769" cy="506627"/>
          </a:xfrm>
          <a:prstGeom prst="rect">
            <a:avLst/>
          </a:prstGeom>
        </p:spPr>
      </p:pic>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I have not seen anything comparable.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We can use the Computer Vision API to prove to our clients the reliability of the data, so they can be confident making important business decisions based on that information.”</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nl-NL"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igiglobe CEO Leendert de Voogd </a:t>
              </a:r>
              <a:endPar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a:xfrm>
              <a:off x="444498" y="4983463"/>
              <a:ext cx="5212080" cy="548640"/>
            </a:xfrm>
            <a:prstGeom prst="rect">
              <a:avLst/>
            </a:prstGeom>
            <a:solidFill>
              <a:schemeClr val="bg1">
                <a:lumMod val="95000"/>
              </a:schemeClr>
            </a:solidFill>
          </p:spPr>
          <p:txBody>
            <a:bodyPr wrap="none" lIns="175761" tIns="140609" rIns="175761" bIns="140609" rtlCol="0" anchor="ctr">
              <a:noAutofit/>
            </a:bodyPr>
            <a:lstStyle/>
            <a:p>
              <a:pPr marL="0" marR="0" lvl="0" indent="0" algn="l"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89091">
                        <a:srgbClr val="0078D7"/>
                      </a:gs>
                      <a:gs pos="73636">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omputer Vision API</a:t>
              </a:r>
            </a:p>
          </p:txBody>
        </p:sp>
        <p:sp>
          <p:nvSpPr>
            <p:cNvPr id="17" name="TextBox 16">
              <a:hlinkClick r:id="rId5"/>
            </p:cNvPr>
            <p:cNvSpPr txBox="1"/>
            <p:nvPr/>
          </p:nvSpPr>
          <p:spPr>
            <a:xfrm>
              <a:off x="3810006" y="5074903"/>
              <a:ext cx="1737360" cy="365760"/>
            </a:xfrm>
            <a:prstGeom prst="rect">
              <a:avLst/>
            </a:prstGeom>
            <a:solidFill>
              <a:schemeClr val="accent3"/>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spTree>
    <p:extLst>
      <p:ext uri="{BB962C8B-B14F-4D97-AF65-F5344CB8AC3E}">
        <p14:creationId xmlns:p14="http://schemas.microsoft.com/office/powerpoint/2010/main" val="180412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A3866F-F074-494C-9EB8-50E62310C7E9}"/>
              </a:ext>
            </a:extLst>
          </p:cNvPr>
          <p:cNvPicPr>
            <a:picLocks noChangeAspect="1"/>
          </p:cNvPicPr>
          <p:nvPr/>
        </p:nvPicPr>
        <p:blipFill rotWithShape="1">
          <a:blip r:embed="rId3"/>
          <a:srcRect l="6875" r="41557"/>
          <a:stretch/>
        </p:blipFill>
        <p:spPr>
          <a:xfrm>
            <a:off x="6096000" y="486"/>
            <a:ext cx="6172974" cy="6857514"/>
          </a:xfrm>
          <a:prstGeom prst="rect">
            <a:avLst/>
          </a:prstGeom>
        </p:spPr>
      </p:pic>
      <p:grpSp>
        <p:nvGrpSpPr>
          <p:cNvPr id="3" name="Group 2">
            <a:extLst>
              <a:ext uri="{FF2B5EF4-FFF2-40B4-BE49-F238E27FC236}">
                <a16:creationId xmlns:a16="http://schemas.microsoft.com/office/drawing/2014/main" id="{62552096-FD12-4D9F-BB31-4FECEA6FD367}"/>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I have not seen anything comparable.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We can use the Computer Vision API to prove to our clients the reliability of the data, so they can be confident making important business decisions based on that information.”</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nl-NL"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igiglobe CEO Leendert de Voogd </a:t>
              </a:r>
              <a:endPar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 name="TextBox 8">
              <a:hlinkClick r:id="rId4"/>
              <a:extLst>
                <a:ext uri="{FF2B5EF4-FFF2-40B4-BE49-F238E27FC236}">
                  <a16:creationId xmlns:a16="http://schemas.microsoft.com/office/drawing/2014/main" id="{C0B82464-6B60-4AC6-B86C-45850D7829EA}"/>
                </a:ext>
              </a:extLst>
            </p:cNvPr>
            <p:cNvSpPr txBox="1"/>
            <p:nvPr/>
          </p:nvSpPr>
          <p:spPr>
            <a:xfrm>
              <a:off x="1953258" y="5074903"/>
              <a:ext cx="1645920" cy="365760"/>
            </a:xfrm>
            <a:prstGeom prst="rect">
              <a:avLst/>
            </a:prstGeom>
            <a:solidFill>
              <a:schemeClr val="accent1"/>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atch Video Here</a:t>
              </a:r>
            </a:p>
          </p:txBody>
        </p:sp>
        <p:sp>
          <p:nvSpPr>
            <p:cNvPr id="12" name="TextBox 11">
              <a:hlinkClick r:id="rId5"/>
              <a:extLst>
                <a:ext uri="{FF2B5EF4-FFF2-40B4-BE49-F238E27FC236}">
                  <a16:creationId xmlns:a16="http://schemas.microsoft.com/office/drawing/2014/main" id="{734EC024-E7E9-4F93-8679-75E56C5F2A10}"/>
                </a:ext>
              </a:extLst>
            </p:cNvPr>
            <p:cNvSpPr txBox="1"/>
            <p:nvPr/>
          </p:nvSpPr>
          <p:spPr>
            <a:xfrm>
              <a:off x="444498" y="5074903"/>
              <a:ext cx="1463040" cy="365760"/>
            </a:xfrm>
            <a:prstGeom prst="rect">
              <a:avLst/>
            </a:prstGeom>
            <a:solidFill>
              <a:schemeClr val="accent1"/>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Blog Here</a:t>
              </a:r>
            </a:p>
          </p:txBody>
        </p:sp>
      </p:grpSp>
      <p:pic>
        <p:nvPicPr>
          <p:cNvPr id="7" name="Picture 6">
            <a:extLst>
              <a:ext uri="{FF2B5EF4-FFF2-40B4-BE49-F238E27FC236}">
                <a16:creationId xmlns:a16="http://schemas.microsoft.com/office/drawing/2014/main" id="{5B14B9EA-AE0D-4262-9B66-82DE691173A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44500" y="457200"/>
            <a:ext cx="2999769" cy="506627"/>
          </a:xfrm>
          <a:prstGeom prst="rect">
            <a:avLst/>
          </a:prstGeom>
        </p:spPr>
      </p:pic>
    </p:spTree>
    <p:extLst>
      <p:ext uri="{BB962C8B-B14F-4D97-AF65-F5344CB8AC3E}">
        <p14:creationId xmlns:p14="http://schemas.microsoft.com/office/powerpoint/2010/main" val="162682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5BE55-489C-4136-9952-7F9D4918A49C}"/>
              </a:ext>
            </a:extLst>
          </p:cNvPr>
          <p:cNvPicPr>
            <a:picLocks noChangeAspect="1"/>
          </p:cNvPicPr>
          <p:nvPr/>
        </p:nvPicPr>
        <p:blipFill rotWithShape="1">
          <a:blip r:embed="rId3"/>
          <a:srcRect l="10609" r="26034"/>
          <a:stretch/>
        </p:blipFill>
        <p:spPr>
          <a:xfrm>
            <a:off x="5638801" y="2675"/>
            <a:ext cx="655298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22214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a:t>
            </a:r>
            <a:b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nderstand content </a:t>
            </a:r>
            <a:b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in an imag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Emot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429DDE23-3646-440F-B136-DD98BD1CF3D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4781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a:srcRect l="14043" t="1381" r="12622" b="1381"/>
          <a:stretch/>
        </p:blipFill>
        <p:spPr>
          <a:xfrm>
            <a:off x="5638799" y="0"/>
            <a:ext cx="6552981"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08111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eight":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left": 326,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top": 204}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 scores</a:t>
            </a:r>
            <a:endParaRPr kumimoji="0" lang="en-US" altLang="zh-CN"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lvl="2" indent="-224" defTabSz="91349" fontAlgn="base">
              <a:lnSpc>
                <a:spcPct val="90000"/>
              </a:lnSpc>
              <a:spcBef>
                <a:spcPts val="600"/>
              </a:spcBef>
              <a:defRPr/>
            </a:pPr>
            <a:r>
              <a:rPr lang="en-US" altLang="en-US" sz="1600" kern="0" dirty="0">
                <a:gradFill>
                  <a:gsLst>
                    <a:gs pos="1250">
                      <a:srgbClr val="FFFFFF"/>
                    </a:gs>
                    <a:gs pos="100000">
                      <a:srgbClr val="FFFFFF"/>
                    </a:gs>
                  </a:gsLst>
                  <a:lin ang="5400000" scaled="0"/>
                </a:gradFill>
                <a:latin typeface="Consolas" panose="020B0609020204030204" pitchFamily="49" charset="0"/>
              </a:rPr>
              <a:t>"scores</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nger": 5.182241e-8, </a:t>
            </a:r>
          </a:p>
          <a:p>
            <a:pPr marL="0" marR="0" lvl="2" indent="-224" algn="l" defTabSz="131127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contempt": 0.0000242813, </a:t>
            </a:r>
          </a:p>
          <a:p>
            <a:pPr marL="0" marR="0" lvl="2" indent="-224" algn="l" defTabSz="992188"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disgust": 5.621025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fear": 0.00115027453,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appiness": 1.06114619e-8,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eutral": 0.00354017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adness": 9.30888746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urprise": 0.9952837}</a:t>
            </a:r>
            <a:endPar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Emotion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734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microsoft.sharepoint.com/teams/BrandCentral/BundleImages/3590WIN14_Jan_Nokia_04/PreviewImage.png">
            <a:extLst>
              <a:ext uri="{FF2B5EF4-FFF2-40B4-BE49-F238E27FC236}">
                <a16:creationId xmlns:a16="http://schemas.microsoft.com/office/drawing/2014/main" id="{6118E5EC-CDDC-4F9A-B929-CE6B8BF3573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203" r="791"/>
          <a:stretch/>
        </p:blipFill>
        <p:spPr bwMode="auto">
          <a:xfrm flipH="1">
            <a:off x="5638800" y="2674"/>
            <a:ext cx="6565392" cy="68739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63306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faces and their attributes within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heck if two faces belong to the same pers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imilar face search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ind similar faces within a set of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group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Organize many faces into group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arch which person a face belongs to</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7CF78128-7E12-4C5F-89BF-D4A6845416AE}"/>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14830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
                                            <p:txEl>
                                              <p:pRg st="8" end="8"/>
                                            </p:txEl>
                                          </p:spTgt>
                                        </p:tgtEl>
                                        <p:attrNameLst>
                                          <p:attrName>style.visibility</p:attrName>
                                        </p:attrNameLst>
                                      </p:cBhvr>
                                      <p:to>
                                        <p:strVal val="visible"/>
                                      </p:to>
                                    </p:set>
                                    <p:animEffect transition="in" filter="fade">
                                      <p:cBhvr>
                                        <p:cTn id="39" dur="500"/>
                                        <p:tgtEl>
                                          <p:spTgt spid="16">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xEl>
                                              <p:pRg st="9" end="9"/>
                                            </p:txEl>
                                          </p:spTgt>
                                        </p:tgtEl>
                                        <p:attrNameLst>
                                          <p:attrName>style.visibility</p:attrName>
                                        </p:attrNameLst>
                                      </p:cBhvr>
                                      <p:to>
                                        <p:strVal val="visible"/>
                                      </p:to>
                                    </p:set>
                                    <p:animEffect transition="in" filter="fade">
                                      <p:cBhvr>
                                        <p:cTn id="42" dur="500"/>
                                        <p:tgtEl>
                                          <p:spTgt spid="1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638798" y="-1"/>
            <a:ext cx="6552981" cy="6995161"/>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92" t="4307" r="4946" b="17512"/>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519116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etection</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height": 193, "left": 326, "top": 204}</a:t>
            </a:r>
            <a:b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eature attributes</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tributes": { "age": 42, "gender": "male", 	</a:t>
            </a: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headPos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roll": "8.2", "yaw": "-37.8", "pitch": "0.0"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rouping</a:t>
            </a:r>
          </a:p>
          <a:p>
            <a:pPr marL="0" marR="0" lvl="0" indent="0" algn="l" defTabSz="895838" rtl="0" eaLnBrk="1" fontAlgn="auto" latinLnBrk="0" hangingPunct="1">
              <a:lnSpc>
                <a:spcPct val="90000"/>
              </a:lnSpc>
              <a:spcBef>
                <a:spcPts val="4800"/>
              </a:spcBef>
              <a:spcAft>
                <a:spcPts val="0"/>
              </a:spcAft>
              <a:buClrTx/>
              <a:buSzTx/>
              <a:buFontTx/>
              <a:buNone/>
              <a:tabLst/>
              <a:defRPr/>
            </a:pPr>
            <a:endPar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asper Williams</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26782" y="4660379"/>
            <a:ext cx="2194544" cy="731521"/>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1105808" y="355984"/>
            <a:ext cx="724242" cy="724242"/>
          </a:xfrm>
          <a:prstGeom prst="rect">
            <a:avLst/>
          </a:prstGeom>
        </p:spPr>
      </p:pic>
    </p:spTree>
    <p:extLst>
      <p:ext uri="{BB962C8B-B14F-4D97-AF65-F5344CB8AC3E}">
        <p14:creationId xmlns:p14="http://schemas.microsoft.com/office/powerpoint/2010/main" val="26528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0066" y="5337204"/>
            <a:ext cx="6847715" cy="85160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rgbClr val="FFFFFF"/>
                </a:solidFill>
                <a:latin typeface="Segoe UI Semilight" panose="020B0402040204020203" pitchFamily="34" charset="0"/>
                <a:ea typeface="Segoe UI" pitchFamily="34" charset="0"/>
              </a:rPr>
              <a:t>AI Solutions Gallery</a:t>
            </a:r>
            <a:endParaRPr lang="en-US" sz="1371" kern="0" dirty="0">
              <a:solidFill>
                <a:srgbClr val="FFFFFF"/>
              </a:solidFill>
              <a:latin typeface="Segoe UI Semilight" panose="020B0402040204020203" pitchFamily="34" charset="0"/>
              <a:ea typeface="Segoe UI" pitchFamily="34" charset="0"/>
            </a:endParaRPr>
          </a:p>
        </p:txBody>
      </p:sp>
      <p:sp>
        <p:nvSpPr>
          <p:cNvPr id="2" name="Title 1"/>
          <p:cNvSpPr>
            <a:spLocks noGrp="1"/>
          </p:cNvSpPr>
          <p:nvPr>
            <p:ph type="title"/>
          </p:nvPr>
        </p:nvSpPr>
        <p:spPr>
          <a:xfrm>
            <a:off x="576699" y="448699"/>
            <a:ext cx="10801919" cy="814710"/>
          </a:xfrm>
        </p:spPr>
        <p:txBody>
          <a:bodyPr/>
          <a:lstStyle/>
          <a:p>
            <a:pPr algn="ctr"/>
            <a:r>
              <a:rPr lang="en-US" sz="5294" b="0" dirty="0">
                <a:solidFill>
                  <a:schemeClr val="tx1"/>
                </a:solidFill>
                <a:latin typeface="+mn-lt"/>
              </a:rPr>
              <a:t>The Azure AI Landscape</a:t>
            </a:r>
          </a:p>
        </p:txBody>
      </p:sp>
      <p:sp>
        <p:nvSpPr>
          <p:cNvPr id="40" name="Rectangle 39"/>
          <p:cNvSpPr/>
          <p:nvPr/>
        </p:nvSpPr>
        <p:spPr bwMode="auto">
          <a:xfrm>
            <a:off x="8971555" y="5337204"/>
            <a:ext cx="3109808" cy="84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ea typeface="Segoe UI" pitchFamily="34" charset="0"/>
                <a:cs typeface="Segoe UI Semilight" panose="020B0402040204020203" pitchFamily="34" charset="0"/>
              </a:rPr>
              <a:t>Find</a:t>
            </a:r>
            <a:r>
              <a:rPr lang="en-US" sz="1766" kern="0" dirty="0">
                <a:solidFill>
                  <a:srgbClr val="1A1A1A"/>
                </a:solidFill>
                <a:latin typeface="Segoe UI Semilight" panose="020B0402040204020203" pitchFamily="34" charset="0"/>
                <a:ea typeface="Segoe UI"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a:t>
            </a:r>
            <a:r>
              <a:rPr lang="en-US" sz="1766" kern="0" dirty="0">
                <a:solidFill>
                  <a:srgbClr val="1A1A1A"/>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125569" y="5693912"/>
            <a:ext cx="1702965" cy="3623"/>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8971554" y="3860309"/>
            <a:ext cx="3007942" cy="9920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cs typeface="Segoe UI Semilight" panose="020B0402040204020203" pitchFamily="34" charset="0"/>
              </a:rPr>
              <a:t>Create</a:t>
            </a:r>
            <a:r>
              <a:rPr lang="en-US" sz="1766" kern="0" dirty="0">
                <a:solidFill>
                  <a:srgbClr val="1A1A1A"/>
                </a:solidFill>
                <a:latin typeface="Segoe UI Semilight" panose="020B0402040204020203"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125569" y="4325919"/>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0066" y="3475023"/>
            <a:ext cx="6847715" cy="850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766"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67232" y="4292789"/>
            <a:ext cx="6847715" cy="88473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Semilight" panose="020B0402040204020203" pitchFamily="34" charset="0"/>
              </a:rPr>
              <a:t>Azure Databricks</a:t>
            </a:r>
          </a:p>
        </p:txBody>
      </p:sp>
      <p:sp>
        <p:nvSpPr>
          <p:cNvPr id="10" name="Freeform 239"/>
          <p:cNvSpPr/>
          <p:nvPr/>
        </p:nvSpPr>
        <p:spPr bwMode="auto">
          <a:xfrm flipH="1">
            <a:off x="506813" y="3644521"/>
            <a:ext cx="445591" cy="4787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06669" tIns="45688" rIns="91375" bIns="45688" numCol="1" spcCol="0" rtlCol="0" fromWordArt="0" anchor="ctr" anchorCtr="0" forceAA="0" compatLnSpc="1">
            <a:prstTxWarp prst="textNoShape">
              <a:avLst/>
            </a:prstTxWarp>
            <a:noAutofit/>
          </a:bodyPr>
          <a:lstStyle/>
          <a:p>
            <a:pP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8971553" y="2530813"/>
            <a:ext cx="2950381" cy="1113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cs typeface="Segoe UI Semilight" panose="020B0402040204020203" pitchFamily="34" charset="0"/>
              </a:rPr>
              <a:t>Include</a:t>
            </a:r>
            <a:r>
              <a:rPr lang="en-US" sz="1766" i="1" kern="0" dirty="0">
                <a:solidFill>
                  <a:srgbClr val="1A1A1A"/>
                </a:solidFill>
                <a:latin typeface="Segoe UI Semilight" panose="020B0402040204020203" pitchFamily="34" charset="0"/>
                <a:cs typeface="Segoe UI Semilight" panose="020B0402040204020203" pitchFamily="34" charset="0"/>
              </a:rPr>
              <a:t> </a:t>
            </a:r>
            <a:r>
              <a:rPr lang="en-US" sz="1766" kern="0" dirty="0">
                <a:solidFill>
                  <a:srgbClr val="1A1A1A"/>
                </a:solidFill>
                <a:latin typeface="Segoe UI Semilight" panose="020B0402040204020203" pitchFamily="34" charset="0"/>
                <a:cs typeface="Segoe UI Semilight" panose="020B0402040204020203" pitchFamily="34" charset="0"/>
              </a:rPr>
              <a:t>AI</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125569" y="2956615"/>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69241" y="1615308"/>
            <a:ext cx="6849575" cy="8516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rgbClr val="FFFFFF"/>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117782" y="2041110"/>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8971555" y="1555650"/>
            <a:ext cx="3220446" cy="7946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cs typeface="Segoe UI Semilight" panose="020B0402040204020203" pitchFamily="34" charset="0"/>
              </a:rPr>
              <a:t>Use</a:t>
            </a:r>
            <a:r>
              <a:rPr lang="en-US" sz="1766" i="1" kern="0" dirty="0">
                <a:solidFill>
                  <a:srgbClr val="1A1A1A"/>
                </a:solidFill>
                <a:latin typeface="Segoe UI Semilight" panose="020B0402040204020203" pitchFamily="34" charset="0"/>
                <a:cs typeface="Segoe UI Semilight" panose="020B0402040204020203" pitchFamily="34" charset="0"/>
              </a:rPr>
              <a:t> </a:t>
            </a:r>
            <a:r>
              <a:rPr lang="en-US" sz="1766" kern="0" dirty="0">
                <a:solidFill>
                  <a:srgbClr val="1A1A1A"/>
                </a:solidFill>
                <a:latin typeface="Segoe UI Semilight" panose="020B0402040204020203" pitchFamily="34" charset="0"/>
                <a:cs typeface="Segoe UI Semilight" panose="020B0402040204020203" pitchFamily="34" charset="0"/>
              </a:rPr>
              <a:t>AI </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65373" y="2530813"/>
            <a:ext cx="6849575" cy="851604"/>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375" tIns="45688" rIns="91375" bIns="45688" numCol="1" anchor="t" anchorCtr="0" compatLnSpc="1">
                    <a:prstTxWarp prst="textNoShape">
                      <a:avLst/>
                    </a:prstTxWarp>
                    <a:noAutofit/>
                  </a:bodyPr>
                  <a:lstStyle/>
                  <a:p>
                    <a:pPr defTabSz="913545">
                      <a:defRPr/>
                    </a:pPr>
                    <a:endParaRPr lang="en-US" sz="1836"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defTabSz="913545">
                      <a:defRPr/>
                    </a:pPr>
                    <a:endParaRPr lang="en-US" sz="1836"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75" tIns="45688" rIns="91375" bIns="45688" numCol="1" spcCol="0" rtlCol="0" fromWordArt="0" anchor="ctr" anchorCtr="0" forceAA="0" compatLnSpc="1">
                  <a:prstTxWarp prst="textNoShape">
                    <a:avLst/>
                  </a:prstTxWarp>
                  <a:noAutofit/>
                </a:bodyPr>
                <a:lstStyle/>
                <a:p>
                  <a:pPr algn="ct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defTabSz="914192">
                    <a:defRPr/>
                  </a:pPr>
                  <a:endParaRPr lang="en-US" kern="0" dirty="0">
                    <a:solidFill>
                      <a:srgbClr val="1A1A1A"/>
                    </a:solidFill>
                    <a:latin typeface="Segoe UI"/>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defTabSz="914192">
                    <a:defRPr/>
                  </a:pPr>
                  <a:endParaRPr lang="en-US" kern="0" dirty="0">
                    <a:solidFill>
                      <a:srgbClr val="1A1A1A"/>
                    </a:solidFill>
                    <a:latin typeface="Segoe UI"/>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defTabSz="914192">
                    <a:defRPr/>
                  </a:pPr>
                  <a:endParaRPr lang="en-US" kern="0" dirty="0">
                    <a:solidFill>
                      <a:srgbClr val="1A1A1A"/>
                    </a:solidFill>
                    <a:latin typeface="Segoe UI"/>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defTabSz="914192">
                    <a:defRPr/>
                  </a:pPr>
                  <a:endParaRPr lang="en-US" kern="0" dirty="0">
                    <a:solidFill>
                      <a:srgbClr val="1A1A1A"/>
                    </a:solidFill>
                    <a:latin typeface="Segoe UI"/>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954791-0A73-4E12-B47C-6FFFCA4A8447}"/>
              </a:ext>
            </a:extLst>
          </p:cNvPr>
          <p:cNvPicPr>
            <a:picLocks noChangeAspect="1"/>
          </p:cNvPicPr>
          <p:nvPr/>
        </p:nvPicPr>
        <p:blipFill rotWithShape="1">
          <a:blip r:embed="rId3">
            <a:extLst>
              <a:ext uri="{28A0092B-C50C-407E-A947-70E740481C1C}">
                <a14:useLocalDpi xmlns:a14="http://schemas.microsoft.com/office/drawing/2010/main" val="0"/>
              </a:ext>
            </a:extLst>
          </a:blip>
          <a:srcRect l="45266" t="9693" b="4421"/>
          <a:stretch/>
        </p:blipFill>
        <p:spPr>
          <a:xfrm flipH="1">
            <a:off x="5638800" y="2674"/>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625060"/>
          </a:xfrm>
        </p:spPr>
        <p:txBody>
          <a:bodyPr wrap="square">
            <a:spAutoFit/>
          </a:bodyPr>
          <a:lstStyle/>
          <a:p>
            <a:pPr lvl="0">
              <a:defRPr/>
            </a:pPr>
            <a:r>
              <a:rPr lang="en-US" sz="4400"/>
              <a:t>Content Moderator</a:t>
            </a:r>
            <a:br>
              <a:rPr lang="en-US" sz="4400"/>
            </a:br>
            <a:r>
              <a:rPr lang="en-US" sz="2000" spc="0">
                <a:latin typeface="+mn-lt"/>
                <a:cs typeface="Segoe UI Semilight" panose="020B0402040204020203" pitchFamily="34" charset="0"/>
              </a:rPr>
              <a:t>Machine-assisted moderation of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text and images, augmented with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human review tools</a:t>
            </a:r>
            <a:endParaRPr lang="en-US" sz="4400" spc="0">
              <a:latin typeface="+mn-lt"/>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45660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moderation </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hance your ability to detect potentially offensive or unwanted images through machine-learning based classifiers, custom blacklists, and Optical Character Recognition (OC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moder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s you detect potential profanity in more than 100 languages and match text against your custom lists automatically. Content Moderator also checks for possible Personally Identifiable Information (PII)</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deo moderation </a:t>
            </a:r>
            <a:b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 Azure Media Servic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able the scoring of possible adult content in videos. Video moderation is currently deployed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 preview on Azure Media Services</a:t>
            </a:r>
          </a:p>
        </p:txBody>
      </p:sp>
      <p:pic>
        <p:nvPicPr>
          <p:cNvPr id="5" name="Picture 4">
            <a:extLst>
              <a:ext uri="{FF2B5EF4-FFF2-40B4-BE49-F238E27FC236}">
                <a16:creationId xmlns:a16="http://schemas.microsoft.com/office/drawing/2014/main" id="{593F98F6-35B5-40EE-A966-ABE46BA6AE2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1227" y="382018"/>
            <a:ext cx="719298" cy="719298"/>
          </a:xfrm>
          <a:prstGeom prst="rect">
            <a:avLst/>
          </a:prstGeom>
        </p:spPr>
      </p:pic>
    </p:spTree>
    <p:extLst>
      <p:ext uri="{BB962C8B-B14F-4D97-AF65-F5344CB8AC3E}">
        <p14:creationId xmlns:p14="http://schemas.microsoft.com/office/powerpoint/2010/main" val="213016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7CB650-F0C5-4459-8917-A34C0BEF78F0}"/>
              </a:ext>
            </a:extLst>
          </p:cNvPr>
          <p:cNvPicPr>
            <a:picLocks noChangeAspect="1"/>
          </p:cNvPicPr>
          <p:nvPr/>
        </p:nvPicPr>
        <p:blipFill rotWithShape="1">
          <a:blip r:embed="rId3">
            <a:extLst>
              <a:ext uri="{28A0092B-C50C-407E-A947-70E740481C1C}">
                <a14:useLocalDpi xmlns:a14="http://schemas.microsoft.com/office/drawing/2010/main" val="0"/>
              </a:ext>
            </a:extLst>
          </a:blip>
          <a:srcRect l="18409" t="4869" r="24086" b="4804"/>
          <a:stretch/>
        </p:blipFill>
        <p:spPr>
          <a:xfrm>
            <a:off x="5638801" y="2675"/>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282381" cy="1292662"/>
          </a:xfrm>
        </p:spPr>
        <p:txBody>
          <a:bodyPr wrap="square">
            <a:spAutoFit/>
          </a:bodyPr>
          <a:lstStyle/>
          <a:p>
            <a:pPr>
              <a:defRPr/>
            </a:pPr>
            <a:r>
              <a:rPr lang="en-US" sz="4000" dirty="0"/>
              <a:t>Custom Vision Service</a:t>
            </a:r>
            <a:br>
              <a:rPr lang="en-US" sz="4400" dirty="0"/>
            </a:br>
            <a:r>
              <a:rPr lang="en-US" sz="2000" spc="0" dirty="0">
                <a:latin typeface="+mn-lt"/>
                <a:cs typeface="Segoe UI Semilight" panose="020B0402040204020203" pitchFamily="34" charset="0"/>
              </a:rPr>
              <a:t>A customizable web service that learns </a:t>
            </a:r>
            <a:br>
              <a:rPr lang="en-US" sz="2000" spc="0" dirty="0">
                <a:latin typeface="+mn-lt"/>
                <a:cs typeface="Segoe UI Semilight" panose="020B0402040204020203" pitchFamily="34" charset="0"/>
              </a:rPr>
            </a:br>
            <a:r>
              <a:rPr lang="en-US" sz="2000" spc="0" dirty="0">
                <a:latin typeface="+mn-lt"/>
                <a:cs typeface="Segoe UI Semilight" panose="020B0402040204020203" pitchFamily="34" charset="0"/>
              </a:rPr>
              <a:t>to recognize specific content in imagery </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29553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imag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pload your own labeled images, or use Custom Vision Service to quickly tag any unlabeled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i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your labeled images to teach Custom Vision Service the concepts you want it to lear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simple REST API calls to quickly tag images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with your new custom computer vision model</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tive learn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mages evaluated through your custom vision model become part of a feedback loop you can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to keep improving your classifier</a:t>
            </a:r>
          </a:p>
        </p:txBody>
      </p:sp>
      <p:pic>
        <p:nvPicPr>
          <p:cNvPr id="5" name="Picture 4">
            <a:extLst>
              <a:ext uri="{FF2B5EF4-FFF2-40B4-BE49-F238E27FC236}">
                <a16:creationId xmlns:a16="http://schemas.microsoft.com/office/drawing/2014/main" id="{FC6D47D5-F8FC-4AE4-89D8-4DC0A44AB89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0997881" y="255110"/>
            <a:ext cx="925990" cy="925990"/>
          </a:xfrm>
          <a:prstGeom prst="rect">
            <a:avLst/>
          </a:prstGeom>
        </p:spPr>
      </p:pic>
    </p:spTree>
    <p:extLst>
      <p:ext uri="{BB962C8B-B14F-4D97-AF65-F5344CB8AC3E}">
        <p14:creationId xmlns:p14="http://schemas.microsoft.com/office/powerpoint/2010/main" val="412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descr="https://microsoft.sharepoint.com/teams/BrandCentral/BundleImages/250MSC12_Nancy_001/PreviewImage.png">
            <a:extLst>
              <a:ext uri="{FF2B5EF4-FFF2-40B4-BE49-F238E27FC236}">
                <a16:creationId xmlns:a16="http://schemas.microsoft.com/office/drawing/2014/main" id="{CAE86D33-68F0-4C4E-87F4-E97DEC1DE5B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181862"/>
          </a:xfrm>
        </p:spPr>
        <p:txBody>
          <a:bodyPr wrap="square">
            <a:spAutoFit/>
          </a:bodyPr>
          <a:lstStyle/>
          <a:p>
            <a:pPr>
              <a:defRPr/>
            </a:pPr>
            <a:r>
              <a:rPr lang="en-US" sz="4400"/>
              <a:t>Video Indexer</a:t>
            </a:r>
            <a:br>
              <a:rPr lang="en-US" sz="4400"/>
            </a:br>
            <a:r>
              <a:rPr lang="en-US" sz="2800" spc="0">
                <a:latin typeface="Segoe UI Semilight" panose="020B0402040204020203" pitchFamily="34" charset="0"/>
                <a:cs typeface="Segoe UI Semilight" panose="020B0402040204020203" pitchFamily="34" charset="0"/>
              </a:rPr>
              <a:t>Unlock video insights</a:t>
            </a:r>
            <a:endParaRPr lang="en-US" sz="4400" spc="0">
              <a:latin typeface="Segoe UI Semilight" panose="020B0402040204020203" pitchFamily="34" charset="0"/>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1783098"/>
            <a:ext cx="5067300" cy="484440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your video and g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tart turning your video into insights right away.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No more tedious and error-prone manual indexing. And no need for specialized expertise. With Video Indexer, just upload your video, and start finding insights right away, without writing a single lin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ke your content more discoverabl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easily extract insights from videos using artificial intelligence. Enhance content discovery experiences such as search results by detecting spoken words, faces, characters, and emotion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prove engagement with your vide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etadata extracted by Video Indexer can b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d to build powerful engagement experiences with recommendations, highlight clips, and interactive videos</a:t>
            </a:r>
          </a:p>
        </p:txBody>
      </p:sp>
      <p:pic>
        <p:nvPicPr>
          <p:cNvPr id="5" name="Picture 4">
            <a:extLst>
              <a:ext uri="{FF2B5EF4-FFF2-40B4-BE49-F238E27FC236}">
                <a16:creationId xmlns:a16="http://schemas.microsoft.com/office/drawing/2014/main" id="{5B18B2C2-5F56-4D00-9B0E-350C131B113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43908" y="384559"/>
            <a:ext cx="686142" cy="686142"/>
          </a:xfrm>
          <a:prstGeom prst="rect">
            <a:avLst/>
          </a:prstGeom>
        </p:spPr>
      </p:pic>
    </p:spTree>
    <p:extLst>
      <p:ext uri="{BB962C8B-B14F-4D97-AF65-F5344CB8AC3E}">
        <p14:creationId xmlns:p14="http://schemas.microsoft.com/office/powerpoint/2010/main" val="384853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E9223-E979-4231-B508-80427CE85E50}"/>
              </a:ext>
            </a:extLst>
          </p:cNvPr>
          <p:cNvSpPr>
            <a:spLocks noGrp="1"/>
          </p:cNvSpPr>
          <p:nvPr>
            <p:ph type="title"/>
          </p:nvPr>
        </p:nvSpPr>
        <p:spPr>
          <a:xfrm>
            <a:off x="269240" y="3895725"/>
            <a:ext cx="3578860" cy="1828800"/>
          </a:xfrm>
        </p:spPr>
        <p:txBody>
          <a:bodyPr vert="horz" wrap="square" lIns="146304" tIns="91440" rIns="146304" bIns="91440" rtlCol="0" anchor="t">
            <a:noAutofit/>
          </a:bodyPr>
          <a:lstStyle/>
          <a:p>
            <a:r>
              <a:rPr lang="en-US"/>
              <a:t>SPEECH</a:t>
            </a:r>
          </a:p>
        </p:txBody>
      </p:sp>
      <p:sp>
        <p:nvSpPr>
          <p:cNvPr id="8" name="Rectangle 7">
            <a:extLst>
              <a:ext uri="{FF2B5EF4-FFF2-40B4-BE49-F238E27FC236}">
                <a16:creationId xmlns:a16="http://schemas.microsoft.com/office/drawing/2014/main" id="{94AF052C-8815-475D-AF2F-3F29D79B563A}"/>
              </a:ext>
            </a:extLst>
          </p:cNvPr>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9" name="Rectangle 8">
            <a:extLst>
              <a:ext uri="{FF2B5EF4-FFF2-40B4-BE49-F238E27FC236}">
                <a16:creationId xmlns:a16="http://schemas.microsoft.com/office/drawing/2014/main" id="{47C8125A-9DED-4047-896A-496E048B9AE0}"/>
              </a:ext>
            </a:extLst>
          </p:cNvPr>
          <p:cNvSpPr/>
          <p:nvPr/>
        </p:nvSpPr>
        <p:spPr>
          <a:xfrm>
            <a:off x="3830760" y="5076629"/>
            <a:ext cx="7519411" cy="369332"/>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ustom Recognition | Speaker Recognition | Speech</a:t>
            </a:r>
          </a:p>
        </p:txBody>
      </p:sp>
      <p:pic>
        <p:nvPicPr>
          <p:cNvPr id="30" name="Picture 29">
            <a:extLst>
              <a:ext uri="{FF2B5EF4-FFF2-40B4-BE49-F238E27FC236}">
                <a16:creationId xmlns:a16="http://schemas.microsoft.com/office/drawing/2014/main" id="{7F28E07F-4C47-4A02-9786-FE786C768CFB}"/>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50986" y="2928234"/>
            <a:ext cx="914400" cy="914400"/>
          </a:xfrm>
          <a:prstGeom prst="rect">
            <a:avLst/>
          </a:prstGeom>
        </p:spPr>
      </p:pic>
    </p:spTree>
    <p:extLst>
      <p:ext uri="{BB962C8B-B14F-4D97-AF65-F5344CB8AC3E}">
        <p14:creationId xmlns:p14="http://schemas.microsoft.com/office/powerpoint/2010/main" val="1048146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https://microsoft.sharepoint.com/teams/BrandCentral/BundleImages/5830Surface_019_Cafe_Window_05173_VS_R1b/PreviewImage.png">
            <a:extLst>
              <a:ext uri="{FF2B5EF4-FFF2-40B4-BE49-F238E27FC236}">
                <a16:creationId xmlns:a16="http://schemas.microsoft.com/office/drawing/2014/main" id="{5F771497-EE1C-4C55-9E95-9F9C62F030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9945" r="16115"/>
          <a:stretch/>
        </p:blipFill>
        <p:spPr bwMode="auto">
          <a:xfrm flipH="1">
            <a:off x="5638798" y="2674"/>
            <a:ext cx="6552981"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3988784"/>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ice recognition </a:t>
            </a:r>
            <a:b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ech to text)</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verts spoken audio to text</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ice output </a:t>
            </a:r>
            <a:b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to speech)</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ynthesize audio from text</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ech intent recogni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vert spoken audio to intent</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Bing Speech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3045D307-6138-402F-B573-1AA98E200A83}"/>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5512" y="381348"/>
            <a:ext cx="730728" cy="730728"/>
          </a:xfrm>
          <a:prstGeom prst="rect">
            <a:avLst/>
          </a:prstGeom>
        </p:spPr>
      </p:pic>
    </p:spTree>
    <p:extLst>
      <p:ext uri="{BB962C8B-B14F-4D97-AF65-F5344CB8AC3E}">
        <p14:creationId xmlns:p14="http://schemas.microsoft.com/office/powerpoint/2010/main" val="341854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Microsoft Cognitive Services gives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us a huge range of opportunities.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It’s a perfect match for us now,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and in the future when we want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to add more features to our app.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The Computer Vision and Speech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APIs are extremely powerful.”</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Blucup</a:t>
              </a: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CEO </a:t>
              </a: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Jaan</a:t>
              </a: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Apajalahti</a:t>
              </a:r>
              <a:endPar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a:xfrm>
              <a:off x="444498" y="4983463"/>
              <a:ext cx="5212080" cy="548640"/>
            </a:xfrm>
            <a:prstGeom prst="rect">
              <a:avLst/>
            </a:prstGeom>
            <a:solidFill>
              <a:schemeClr val="bg1">
                <a:lumMod val="95000"/>
              </a:schemeClr>
            </a:solidFill>
          </p:spPr>
          <p:txBody>
            <a:bodyPr wrap="none" lIns="175761" tIns="140609" rIns="175761" bIns="140609" rtlCol="0" anchor="ctr">
              <a:noAutofit/>
            </a:bodyPr>
            <a:lstStyle/>
            <a:p>
              <a:pPr marL="0" marR="0" lvl="0" indent="0" algn="l"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98039">
                        <a:srgbClr val="00188F"/>
                      </a:gs>
                      <a:gs pos="89091">
                        <a:srgbClr val="00188F"/>
                      </a:gs>
                    </a:gsLst>
                    <a:lin ang="5400000" scaled="0"/>
                  </a:gradFill>
                  <a:effectLst/>
                  <a:uLnTx/>
                  <a:uFillTx/>
                  <a:latin typeface="Segoe UI Semibold" panose="020B0702040204020203" pitchFamily="34" charset="0"/>
                  <a:ea typeface="+mn-ea"/>
                  <a:cs typeface="Segoe UI Semibold" panose="020B0702040204020203" pitchFamily="34" charset="0"/>
                </a:rPr>
                <a:t>Computer Vision API and Speech API</a:t>
              </a:r>
            </a:p>
          </p:txBody>
        </p:sp>
        <p:sp>
          <p:nvSpPr>
            <p:cNvPr id="17" name="TextBox 16">
              <a:hlinkClick r:id="rId3"/>
            </p:cNvPr>
            <p:cNvSpPr txBox="1"/>
            <p:nvPr/>
          </p:nvSpPr>
          <p:spPr>
            <a:xfrm>
              <a:off x="3810006" y="5074903"/>
              <a:ext cx="1737360" cy="365760"/>
            </a:xfrm>
            <a:prstGeom prst="rect">
              <a:avLst/>
            </a:prstGeom>
            <a:solidFill>
              <a:schemeClr val="accent2"/>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8" name="Picture 7">
            <a:extLst>
              <a:ext uri="{FF2B5EF4-FFF2-40B4-BE49-F238E27FC236}">
                <a16:creationId xmlns:a16="http://schemas.microsoft.com/office/drawing/2014/main" id="{ACDEACEB-92DA-406C-8D37-39989922ECD0}"/>
              </a:ext>
            </a:extLst>
          </p:cNvPr>
          <p:cNvPicPr>
            <a:picLocks noChangeAspect="1"/>
          </p:cNvPicPr>
          <p:nvPr/>
        </p:nvPicPr>
        <p:blipFill rotWithShape="1">
          <a:blip r:embed="rId4"/>
          <a:srcRect l="49154" r="257"/>
          <a:stretch/>
        </p:blipFill>
        <p:spPr>
          <a:xfrm>
            <a:off x="6095999" y="486"/>
            <a:ext cx="6172973" cy="6857513"/>
          </a:xfrm>
          <a:prstGeom prst="rect">
            <a:avLst/>
          </a:prstGeom>
        </p:spPr>
      </p:pic>
      <p:pic>
        <p:nvPicPr>
          <p:cNvPr id="3074" name="Picture 2" descr="Image result for zero keyboard logo">
            <a:extLst>
              <a:ext uri="{FF2B5EF4-FFF2-40B4-BE49-F238E27FC236}">
                <a16:creationId xmlns:a16="http://schemas.microsoft.com/office/drawing/2014/main" id="{A5EECF30-B25C-4C69-8627-D22DADD1367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320402" y="360770"/>
            <a:ext cx="1923585" cy="699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3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F25C33-04D2-4C93-9078-3BA1FFE7F2D6}"/>
              </a:ext>
            </a:extLst>
          </p:cNvPr>
          <p:cNvPicPr>
            <a:picLocks noChangeAspect="1"/>
          </p:cNvPicPr>
          <p:nvPr/>
        </p:nvPicPr>
        <p:blipFill rotWithShape="1">
          <a:blip r:embed="rId3">
            <a:extLst>
              <a:ext uri="{28A0092B-C50C-407E-A947-70E740481C1C}">
                <a14:useLocalDpi xmlns:a14="http://schemas.microsoft.com/office/drawing/2010/main" val="0"/>
              </a:ext>
            </a:extLst>
          </a:blip>
          <a:srcRect l="12001" r="24289"/>
          <a:stretch/>
        </p:blipFill>
        <p:spPr>
          <a:xfrm>
            <a:off x="5638801" y="2674"/>
            <a:ext cx="6552980" cy="6855325"/>
          </a:xfrm>
          <a:prstGeom prst="rect">
            <a:avLst/>
          </a:prstGeom>
        </p:spPr>
      </p:pic>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72074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ize both language and acoustic model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ailor speech recognition to your app and environment</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Custom Speech </a:t>
            </a:r>
            <a:br>
              <a:rPr lang="en-US" sz="4800" dirty="0"/>
            </a:br>
            <a:r>
              <a:rPr lang="en-US" sz="4800" dirty="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6B37F510-82BA-4D72-9A2C-683E521C8FE6}"/>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2995" y="370224"/>
            <a:ext cx="695762" cy="695762"/>
          </a:xfrm>
          <a:prstGeom prst="rect">
            <a:avLst/>
          </a:prstGeom>
        </p:spPr>
      </p:pic>
    </p:spTree>
    <p:extLst>
      <p:ext uri="{BB962C8B-B14F-4D97-AF65-F5344CB8AC3E}">
        <p14:creationId xmlns:p14="http://schemas.microsoft.com/office/powerpoint/2010/main" val="355403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2331732"/>
            <a:ext cx="5067300" cy="3570208"/>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reate custom language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models for the vocabulary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f the applic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dapt acoustic models to better match the expected environment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f the application’s users </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to a custom endpoint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nd access from any devic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a:t>Custom Speech</a:t>
            </a:r>
            <a:br>
              <a:rPr lang="en-US" sz="4800"/>
            </a:br>
            <a:r>
              <a:rPr lang="en-US" sz="480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C098A4B6-E42C-467C-889E-B01CBB8E21F5}"/>
              </a:ext>
            </a:extLst>
          </p:cNvPr>
          <p:cNvSpPr txBox="1"/>
          <p:nvPr/>
        </p:nvSpPr>
        <p:spPr>
          <a:xfrm>
            <a:off x="5638800" y="1234464"/>
            <a:ext cx="6553200" cy="683264"/>
          </a:xfrm>
          <a:prstGeom prst="rect">
            <a:avLst/>
          </a:prstGeom>
          <a:noFill/>
        </p:spPr>
        <p:txBody>
          <a:bodyPr wrap="square" lIns="182880" tIns="146304" rIns="182880" bIns="146304" rtlCol="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Record audio</a:t>
            </a:r>
          </a:p>
        </p:txBody>
      </p:sp>
      <p:sp>
        <p:nvSpPr>
          <p:cNvPr id="19" name="TextBox 18">
            <a:extLst>
              <a:ext uri="{FF2B5EF4-FFF2-40B4-BE49-F238E27FC236}">
                <a16:creationId xmlns:a16="http://schemas.microsoft.com/office/drawing/2014/main" id="{CF906B50-8D87-4B7A-9E87-216D73D5E4B2}"/>
              </a:ext>
            </a:extLst>
          </p:cNvPr>
          <p:cNvSpPr txBox="1"/>
          <p:nvPr/>
        </p:nvSpPr>
        <p:spPr>
          <a:xfrm>
            <a:off x="5638800" y="2834646"/>
            <a:ext cx="6553200" cy="683264"/>
          </a:xfrm>
          <a:prstGeom prst="rect">
            <a:avLst/>
          </a:prstGeom>
          <a:noFill/>
        </p:spPr>
        <p:txBody>
          <a:bodyPr wrap="square" lIns="182880" tIns="146304" rIns="182880" bIns="146304" rtlCol="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Transcribe</a:t>
            </a:r>
          </a:p>
        </p:txBody>
      </p:sp>
      <p:grpSp>
        <p:nvGrpSpPr>
          <p:cNvPr id="30" name="Group 29">
            <a:extLst>
              <a:ext uri="{FF2B5EF4-FFF2-40B4-BE49-F238E27FC236}">
                <a16:creationId xmlns:a16="http://schemas.microsoft.com/office/drawing/2014/main" id="{F972685E-E155-45EC-BFC4-8D75D8E6BB01}"/>
              </a:ext>
            </a:extLst>
          </p:cNvPr>
          <p:cNvGrpSpPr/>
          <p:nvPr/>
        </p:nvGrpSpPr>
        <p:grpSpPr>
          <a:xfrm>
            <a:off x="6433476" y="4617707"/>
            <a:ext cx="4963848" cy="1227405"/>
            <a:chOff x="6433476" y="5090753"/>
            <a:chExt cx="4963848" cy="1227405"/>
          </a:xfrm>
        </p:grpSpPr>
        <p:sp>
          <p:nvSpPr>
            <p:cNvPr id="24" name="Rectangle 23">
              <a:extLst>
                <a:ext uri="{FF2B5EF4-FFF2-40B4-BE49-F238E27FC236}">
                  <a16:creationId xmlns:a16="http://schemas.microsoft.com/office/drawing/2014/main" id="{BB86F341-6EE9-48D3-B817-9596D666FB75}"/>
                </a:ext>
              </a:extLst>
            </p:cNvPr>
            <p:cNvSpPr/>
            <p:nvPr/>
          </p:nvSpPr>
          <p:spPr>
            <a:xfrm>
              <a:off x="9111324" y="5362824"/>
              <a:ext cx="2286000" cy="6832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2880" tIns="146304" rIns="182880" bIns="146304" numCol="1" spcCol="1270" anchor="ctr" anchorCtr="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Deploy</a:t>
              </a:r>
            </a:p>
          </p:txBody>
        </p:sp>
        <p:sp>
          <p:nvSpPr>
            <p:cNvPr id="25" name="Rectangle 24">
              <a:extLst>
                <a:ext uri="{FF2B5EF4-FFF2-40B4-BE49-F238E27FC236}">
                  <a16:creationId xmlns:a16="http://schemas.microsoft.com/office/drawing/2014/main" id="{50A4565C-9A0D-4544-93C4-51D69CB10E24}"/>
                </a:ext>
              </a:extLst>
            </p:cNvPr>
            <p:cNvSpPr/>
            <p:nvPr/>
          </p:nvSpPr>
          <p:spPr>
            <a:xfrm>
              <a:off x="6433476" y="5362824"/>
              <a:ext cx="2286000" cy="6832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2880" tIns="146304" rIns="182880" bIns="146304" numCol="1" spcCol="1270" anchor="ctr" anchorCtr="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Adapt</a:t>
              </a:r>
            </a:p>
          </p:txBody>
        </p:sp>
        <p:sp>
          <p:nvSpPr>
            <p:cNvPr id="26" name="Left Bracket 25">
              <a:extLst>
                <a:ext uri="{FF2B5EF4-FFF2-40B4-BE49-F238E27FC236}">
                  <a16:creationId xmlns:a16="http://schemas.microsoft.com/office/drawing/2014/main" id="{05672CC3-2E7E-479D-9D40-BB9A8E6753B4}"/>
                </a:ext>
              </a:extLst>
            </p:cNvPr>
            <p:cNvSpPr/>
            <p:nvPr/>
          </p:nvSpPr>
          <p:spPr>
            <a:xfrm rot="5400000">
              <a:off x="8784774" y="3834588"/>
              <a:ext cx="261255" cy="2773586"/>
            </a:xfrm>
            <a:prstGeom prst="leftBracket">
              <a:avLst>
                <a:gd name="adj" fmla="val 69285"/>
              </a:avLst>
            </a:prstGeom>
            <a:ln w="38100" cap="rnd">
              <a:solidFill>
                <a:schemeClr val="bg1">
                  <a:lumMod val="7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7" name="Left Bracket 26">
              <a:extLst>
                <a:ext uri="{FF2B5EF4-FFF2-40B4-BE49-F238E27FC236}">
                  <a16:creationId xmlns:a16="http://schemas.microsoft.com/office/drawing/2014/main" id="{C2A20E12-C937-4D8F-98A6-988DE5C3F5E9}"/>
                </a:ext>
              </a:extLst>
            </p:cNvPr>
            <p:cNvSpPr/>
            <p:nvPr/>
          </p:nvSpPr>
          <p:spPr>
            <a:xfrm rot="16200000" flipV="1">
              <a:off x="8784774" y="4800738"/>
              <a:ext cx="261255" cy="2773586"/>
            </a:xfrm>
            <a:prstGeom prst="leftBracket">
              <a:avLst>
                <a:gd name="adj" fmla="val 69285"/>
              </a:avLst>
            </a:prstGeom>
            <a:ln w="38100" cap="rnd">
              <a:solidFill>
                <a:schemeClr val="bg1">
                  <a:lumMod val="7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1" name="Freeform 17">
            <a:extLst>
              <a:ext uri="{FF2B5EF4-FFF2-40B4-BE49-F238E27FC236}">
                <a16:creationId xmlns:a16="http://schemas.microsoft.com/office/drawing/2014/main" id="{6114F99E-9F94-48C2-B55E-6295DDE68C72}"/>
              </a:ext>
            </a:extLst>
          </p:cNvPr>
          <p:cNvSpPr>
            <a:spLocks noChangeAspect="1"/>
          </p:cNvSpPr>
          <p:nvPr/>
        </p:nvSpPr>
        <p:spPr bwMode="auto">
          <a:xfrm rot="10800000">
            <a:off x="8767657" y="2226981"/>
            <a:ext cx="295486" cy="298412"/>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2" name="Freeform 17">
            <a:extLst>
              <a:ext uri="{FF2B5EF4-FFF2-40B4-BE49-F238E27FC236}">
                <a16:creationId xmlns:a16="http://schemas.microsoft.com/office/drawing/2014/main" id="{9EF08C6A-A268-4336-A4A5-C6D08935F72A}"/>
              </a:ext>
            </a:extLst>
          </p:cNvPr>
          <p:cNvSpPr>
            <a:spLocks noChangeAspect="1"/>
          </p:cNvSpPr>
          <p:nvPr/>
        </p:nvSpPr>
        <p:spPr bwMode="auto">
          <a:xfrm rot="10800000">
            <a:off x="8767657" y="3827164"/>
            <a:ext cx="295486" cy="298412"/>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8DCDDAA3-4F6E-4AD0-85CA-067E85B524C2}"/>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112995" y="370224"/>
            <a:ext cx="695762" cy="695762"/>
          </a:xfrm>
          <a:prstGeom prst="rect">
            <a:avLst/>
          </a:prstGeom>
        </p:spPr>
      </p:pic>
    </p:spTree>
    <p:extLst>
      <p:ext uri="{BB962C8B-B14F-4D97-AF65-F5344CB8AC3E}">
        <p14:creationId xmlns:p14="http://schemas.microsoft.com/office/powerpoint/2010/main" val="356330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44641" t="9055" r="9425" b="14408"/>
          <a:stretch/>
        </p:blipFill>
        <p:spPr>
          <a:xfrm>
            <a:off x="6096001" y="487"/>
            <a:ext cx="6172972" cy="6857027"/>
          </a:xfrm>
          <a:prstGeom prst="rect">
            <a:avLst/>
          </a:prstGeom>
        </p:spPr>
      </p:pic>
      <p:pic>
        <p:nvPicPr>
          <p:cNvPr id="9" name="Picture 8"/>
          <p:cNvPicPr>
            <a:picLocks noChangeAspect="1"/>
          </p:cNvPicPr>
          <p:nvPr/>
        </p:nvPicPr>
        <p:blipFill>
          <a:blip r:embed="rId4"/>
          <a:stretch>
            <a:fillRect/>
          </a:stretch>
        </p:blipFill>
        <p:spPr>
          <a:xfrm>
            <a:off x="339766" y="-65259"/>
            <a:ext cx="3150578" cy="1575289"/>
          </a:xfrm>
          <a:prstGeom prst="rect">
            <a:avLst/>
          </a:prstGeom>
        </p:spPr>
      </p:pic>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e only reason we can build a product like this is because we are building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on the deep learning and speech recognition expertise at Microsoft to deliver an entertainment experience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at will be revolutionary.”</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lexander Mejia, Owner and Creative Director, </a:t>
              </a:r>
              <a:b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uman Interact</a:t>
              </a:r>
            </a:p>
          </p:txBody>
        </p:sp>
        <p:sp>
          <p:nvSpPr>
            <p:cNvPr id="13" name="Rectangle 12"/>
            <p:cNvSpPr/>
            <p:nvPr/>
          </p:nvSpPr>
          <p:spPr>
            <a:xfrm>
              <a:off x="444500" y="5141142"/>
              <a:ext cx="2221740" cy="365760"/>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89091">
                        <a:srgbClr val="0078D7"/>
                      </a:gs>
                      <a:gs pos="73636">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ustom Speech Service, LUIS</a:t>
              </a:r>
            </a:p>
          </p:txBody>
        </p:sp>
        <p:sp>
          <p:nvSpPr>
            <p:cNvPr id="17" name="TextBox 16">
              <a:hlinkClick r:id="rId5"/>
            </p:cNvPr>
            <p:cNvSpPr txBox="1"/>
            <p:nvPr/>
          </p:nvSpPr>
          <p:spPr>
            <a:xfrm>
              <a:off x="2711960" y="5141142"/>
              <a:ext cx="1720806" cy="365760"/>
            </a:xfrm>
            <a:prstGeom prst="rect">
              <a:avLst/>
            </a:prstGeom>
            <a:solidFill>
              <a:schemeClr val="accent3"/>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sp>
          <p:nvSpPr>
            <p:cNvPr id="8" name="TextBox 7">
              <a:hlinkClick r:id="rId6"/>
            </p:cNvPr>
            <p:cNvSpPr txBox="1"/>
            <p:nvPr/>
          </p:nvSpPr>
          <p:spPr>
            <a:xfrm>
              <a:off x="4478486" y="5141142"/>
              <a:ext cx="1359388" cy="365760"/>
            </a:xfrm>
            <a:prstGeom prst="rect">
              <a:avLst/>
            </a:prstGeom>
            <a:solidFill>
              <a:schemeClr val="accent3"/>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e video here</a:t>
              </a:r>
            </a:p>
          </p:txBody>
        </p:sp>
      </p:grpSp>
    </p:spTree>
    <p:extLst>
      <p:ext uri="{BB962C8B-B14F-4D97-AF65-F5344CB8AC3E}">
        <p14:creationId xmlns:p14="http://schemas.microsoft.com/office/powerpoint/2010/main" val="367265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F8A711-2439-4E6D-AD1E-BFD23DC27E97}"/>
              </a:ext>
            </a:extLst>
          </p:cNvPr>
          <p:cNvPicPr>
            <a:picLocks noChangeAspect="1"/>
          </p:cNvPicPr>
          <p:nvPr/>
        </p:nvPicPr>
        <p:blipFill rotWithShape="1">
          <a:blip r:embed="rId3">
            <a:extLst>
              <a:ext uri="{28A0092B-C50C-407E-A947-70E740481C1C}">
                <a14:useLocalDpi xmlns:a14="http://schemas.microsoft.com/office/drawing/2010/main" val="0"/>
              </a:ext>
            </a:extLst>
          </a:blip>
          <a:srcRect l="2667" r="33606"/>
          <a:stretch/>
        </p:blipFill>
        <p:spPr>
          <a:xfrm>
            <a:off x="5638798" y="2674"/>
            <a:ext cx="6552981" cy="6855326"/>
          </a:xfrm>
          <a:prstGeom prst="rect">
            <a:avLst/>
          </a:prstGeom>
        </p:spPr>
      </p:pic>
      <p:sp>
        <p:nvSpPr>
          <p:cNvPr id="3" name="Rectangle 2"/>
          <p:cNvSpPr/>
          <p:nvPr/>
        </p:nvSpPr>
        <p:spPr bwMode="auto">
          <a:xfrm>
            <a:off x="0" y="0"/>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31732"/>
            <a:ext cx="5067300" cy="211237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heck if two voices are the same</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dentify who is speak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800" dirty="0"/>
              <a:t>Speaker </a:t>
            </a:r>
            <a:br>
              <a:rPr lang="en-US" sz="4800" dirty="0"/>
            </a:br>
            <a:r>
              <a:rPr lang="en-US" sz="4800" dirty="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D0813B26-FA5A-44FE-A784-B992DA758B8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6952" y="324181"/>
            <a:ext cx="787848" cy="787848"/>
          </a:xfrm>
          <a:prstGeom prst="rect">
            <a:avLst/>
          </a:prstGeom>
        </p:spPr>
      </p:pic>
    </p:spTree>
    <p:extLst>
      <p:ext uri="{BB962C8B-B14F-4D97-AF65-F5344CB8AC3E}">
        <p14:creationId xmlns:p14="http://schemas.microsoft.com/office/powerpoint/2010/main" val="290862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27"/>
          <p:cNvGrpSpPr>
            <a:grpSpLocks noChangeAspect="1"/>
          </p:cNvGrpSpPr>
          <p:nvPr/>
        </p:nvGrpSpPr>
        <p:grpSpPr bwMode="auto">
          <a:xfrm>
            <a:off x="5867569" y="1650425"/>
            <a:ext cx="448152" cy="399987"/>
            <a:chOff x="3810" y="2105"/>
            <a:chExt cx="214" cy="191"/>
          </a:xfrm>
          <a:solidFill>
            <a:schemeClr val="bg1"/>
          </a:solidFill>
        </p:grpSpPr>
        <p:sp>
          <p:nvSpPr>
            <p:cNvPr id="56"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67" name="Line 29"/>
            <p:cNvSpPr>
              <a:spLocks noChangeShapeType="1"/>
            </p:cNvSpPr>
            <p:nvPr/>
          </p:nvSpPr>
          <p:spPr bwMode="auto">
            <a:xfrm>
              <a:off x="3931" y="2250"/>
              <a:ext cx="0" cy="0"/>
            </a:xfrm>
            <a:prstGeom prst="line">
              <a:avLst/>
            </a:pr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68"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69"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70"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82"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cxnSp>
        <p:nvCxnSpPr>
          <p:cNvPr id="53" name="Straight Connector 52"/>
          <p:cNvCxnSpPr/>
          <p:nvPr/>
        </p:nvCxnSpPr>
        <p:spPr>
          <a:xfrm>
            <a:off x="866" y="2474599"/>
            <a:ext cx="12190271" cy="0"/>
          </a:xfrm>
          <a:prstGeom prst="line">
            <a:avLst/>
          </a:prstGeom>
          <a:ln>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54" name="Oval 53"/>
          <p:cNvSpPr/>
          <p:nvPr/>
        </p:nvSpPr>
        <p:spPr bwMode="auto">
          <a:xfrm>
            <a:off x="6029402" y="2412357"/>
            <a:ext cx="124486" cy="124486"/>
          </a:xfrm>
          <a:prstGeom prst="ellipse">
            <a:avLst/>
          </a:prstGeom>
          <a:solidFill>
            <a:schemeClr val="bg1"/>
          </a:solidFill>
          <a:ln>
            <a:solidFill>
              <a:schemeClr val="accent3"/>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85" name="Rectangle 84"/>
          <p:cNvSpPr/>
          <p:nvPr/>
        </p:nvSpPr>
        <p:spPr bwMode="auto">
          <a:xfrm>
            <a:off x="4009281" y="2806083"/>
            <a:ext cx="4185670" cy="373457"/>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3920" kern="0" dirty="0">
                <a:solidFill>
                  <a:srgbClr val="F14001"/>
                </a:solidFill>
                <a:latin typeface="Segoe UI"/>
                <a:cs typeface="Segoe UI Semilight" panose="020B0402040204020203" pitchFamily="34" charset="0"/>
              </a:rPr>
              <a:t>Include</a:t>
            </a:r>
            <a:r>
              <a:rPr lang="en-US" sz="3920" kern="0" dirty="0">
                <a:solidFill>
                  <a:srgbClr val="0D0D0D"/>
                </a:solidFill>
                <a:latin typeface="Segoe UI"/>
                <a:cs typeface="Segoe UI Semilight" panose="020B0402040204020203" pitchFamily="34" charset="0"/>
              </a:rPr>
              <a:t> AI - </a:t>
            </a:r>
            <a:r>
              <a:rPr lang="en-US" sz="3920" kern="0" dirty="0">
                <a:solidFill>
                  <a:srgbClr val="0D0D0D"/>
                </a:solidFill>
                <a:latin typeface="Segoe UI Semibold"/>
                <a:cs typeface="Segoe UI Semilight" panose="020B0402040204020203" pitchFamily="34" charset="0"/>
              </a:rPr>
              <a:t>Services</a:t>
            </a:r>
          </a:p>
        </p:txBody>
      </p:sp>
      <p:sp>
        <p:nvSpPr>
          <p:cNvPr id="87" name="Rectangle 86"/>
          <p:cNvSpPr/>
          <p:nvPr/>
        </p:nvSpPr>
        <p:spPr bwMode="auto">
          <a:xfrm>
            <a:off x="6039316" y="4063066"/>
            <a:ext cx="5528361" cy="335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r>
              <a:rPr lang="en-US" sz="2353" b="1" kern="0" dirty="0">
                <a:solidFill>
                  <a:srgbClr val="0D0D0D"/>
                </a:solidFill>
                <a:latin typeface="Segoe UI Semilight" panose="020B0402040204020203" pitchFamily="34" charset="0"/>
                <a:cs typeface="Segoe UI Semilight" panose="020B0402040204020203" pitchFamily="34" charset="0"/>
              </a:rPr>
              <a:t>Cognitive Services Customizations</a:t>
            </a:r>
          </a:p>
        </p:txBody>
      </p:sp>
      <p:sp>
        <p:nvSpPr>
          <p:cNvPr id="88" name="Rectangle 87"/>
          <p:cNvSpPr/>
          <p:nvPr/>
        </p:nvSpPr>
        <p:spPr bwMode="auto">
          <a:xfrm>
            <a:off x="6039316" y="3511023"/>
            <a:ext cx="5528361" cy="335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r>
              <a:rPr lang="en-US" sz="2353" b="1" kern="0" dirty="0">
                <a:solidFill>
                  <a:srgbClr val="0D0D0D"/>
                </a:solidFill>
                <a:latin typeface="Segoe UI Semilight" panose="020B0402040204020203" pitchFamily="34" charset="0"/>
                <a:cs typeface="Segoe UI Semilight" panose="020B0402040204020203" pitchFamily="34" charset="0"/>
              </a:rPr>
              <a:t>Cognitive Services</a:t>
            </a:r>
          </a:p>
        </p:txBody>
      </p:sp>
      <p:sp>
        <p:nvSpPr>
          <p:cNvPr id="89" name="Oval 88"/>
          <p:cNvSpPr/>
          <p:nvPr/>
        </p:nvSpPr>
        <p:spPr bwMode="auto">
          <a:xfrm>
            <a:off x="850789" y="2417077"/>
            <a:ext cx="124486" cy="124486"/>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90" name="Group 89"/>
          <p:cNvGrpSpPr/>
          <p:nvPr/>
        </p:nvGrpSpPr>
        <p:grpSpPr>
          <a:xfrm>
            <a:off x="639716" y="1538916"/>
            <a:ext cx="546632" cy="546632"/>
            <a:chOff x="1990795" y="2892107"/>
            <a:chExt cx="557672" cy="557672"/>
          </a:xfrm>
          <a:noFill/>
        </p:grpSpPr>
        <p:sp>
          <p:nvSpPr>
            <p:cNvPr id="91" name="Freeform: Shape 9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92" name="Freeform: Shape 9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sp>
        <p:nvSpPr>
          <p:cNvPr id="93" name="Oval 92"/>
          <p:cNvSpPr/>
          <p:nvPr/>
        </p:nvSpPr>
        <p:spPr bwMode="auto">
          <a:xfrm>
            <a:off x="8617463" y="2417077"/>
            <a:ext cx="124486" cy="124486"/>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94" name="Group 93"/>
          <p:cNvGrpSpPr/>
          <p:nvPr/>
        </p:nvGrpSpPr>
        <p:grpSpPr>
          <a:xfrm>
            <a:off x="8449297" y="1644721"/>
            <a:ext cx="460821" cy="430097"/>
            <a:chOff x="2028485" y="5305924"/>
            <a:chExt cx="546628" cy="510184"/>
          </a:xfrm>
          <a:noFill/>
        </p:grpSpPr>
        <p:sp>
          <p:nvSpPr>
            <p:cNvPr id="9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2"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3"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sp>
        <p:nvSpPr>
          <p:cNvPr id="104" name="Oval 103"/>
          <p:cNvSpPr/>
          <p:nvPr/>
        </p:nvSpPr>
        <p:spPr bwMode="auto">
          <a:xfrm>
            <a:off x="3439681" y="2417077"/>
            <a:ext cx="124486" cy="124486"/>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105" name="Group 14"/>
          <p:cNvGrpSpPr>
            <a:grpSpLocks noChangeAspect="1"/>
          </p:cNvGrpSpPr>
          <p:nvPr/>
        </p:nvGrpSpPr>
        <p:grpSpPr bwMode="auto">
          <a:xfrm>
            <a:off x="3374100" y="1662370"/>
            <a:ext cx="255649" cy="394798"/>
            <a:chOff x="2912" y="2002"/>
            <a:chExt cx="158" cy="244"/>
          </a:xfrm>
          <a:noFill/>
        </p:grpSpPr>
        <p:sp>
          <p:nvSpPr>
            <p:cNvPr id="106" name="Rectangle 15"/>
            <p:cNvSpPr>
              <a:spLocks noChangeArrowheads="1"/>
            </p:cNvSpPr>
            <p:nvPr/>
          </p:nvSpPr>
          <p:spPr bwMode="auto">
            <a:xfrm>
              <a:off x="2912" y="2002"/>
              <a:ext cx="67" cy="65"/>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7" name="Rectangle 16"/>
            <p:cNvSpPr>
              <a:spLocks noChangeArrowheads="1"/>
            </p:cNvSpPr>
            <p:nvPr/>
          </p:nvSpPr>
          <p:spPr bwMode="auto">
            <a:xfrm>
              <a:off x="3004" y="2002"/>
              <a:ext cx="66" cy="65"/>
            </a:xfrm>
            <a:prstGeom prst="rect">
              <a:avLst/>
            </a:pr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8" name="Rectangle 17"/>
            <p:cNvSpPr>
              <a:spLocks noChangeArrowheads="1"/>
            </p:cNvSpPr>
            <p:nvPr/>
          </p:nvSpPr>
          <p:spPr bwMode="auto">
            <a:xfrm>
              <a:off x="2912" y="2180"/>
              <a:ext cx="67"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9" name="Rectangle 18"/>
            <p:cNvSpPr>
              <a:spLocks noChangeArrowheads="1"/>
            </p:cNvSpPr>
            <p:nvPr/>
          </p:nvSpPr>
          <p:spPr bwMode="auto">
            <a:xfrm>
              <a:off x="2912" y="2091"/>
              <a:ext cx="158"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grpSp>
        <p:nvGrpSpPr>
          <p:cNvPr id="111" name="Group 110"/>
          <p:cNvGrpSpPr/>
          <p:nvPr/>
        </p:nvGrpSpPr>
        <p:grpSpPr>
          <a:xfrm>
            <a:off x="269288" y="1266408"/>
            <a:ext cx="11921850" cy="1008300"/>
            <a:chOff x="273842" y="1266321"/>
            <a:chExt cx="12162634" cy="1028664"/>
          </a:xfrm>
          <a:noFill/>
        </p:grpSpPr>
        <p:sp>
          <p:nvSpPr>
            <p:cNvPr id="112" name="Rectangle 111"/>
            <p:cNvSpPr/>
            <p:nvPr/>
          </p:nvSpPr>
          <p:spPr bwMode="auto">
            <a:xfrm>
              <a:off x="273842" y="1266321"/>
              <a:ext cx="5438140"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113" name="Rectangle 112"/>
            <p:cNvSpPr/>
            <p:nvPr/>
          </p:nvSpPr>
          <p:spPr bwMode="auto">
            <a:xfrm>
              <a:off x="6791012" y="1304385"/>
              <a:ext cx="5645464"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spTree>
    <p:extLst>
      <p:ext uri="{BB962C8B-B14F-4D97-AF65-F5344CB8AC3E}">
        <p14:creationId xmlns:p14="http://schemas.microsoft.com/office/powerpoint/2010/main" val="20518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31732"/>
            <a:ext cx="5067300" cy="4044184"/>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rollment</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reate a unique voiceprint for a profile</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fter enrolling one or more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oices, identify who is speaking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rom an audio clip</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firm if a voice belongs to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previously enrolled profile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800" dirty="0"/>
              <a:t>Speaker </a:t>
            </a:r>
            <a:br>
              <a:rPr lang="en-US" sz="4800" dirty="0"/>
            </a:br>
            <a:r>
              <a:rPr lang="en-US" sz="4800" dirty="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4B46F75B-DD1B-4A94-8FAB-552B2D9BE0D4}"/>
              </a:ext>
            </a:extLst>
          </p:cNvPr>
          <p:cNvGrpSpPr/>
          <p:nvPr/>
        </p:nvGrpSpPr>
        <p:grpSpPr>
          <a:xfrm>
            <a:off x="6503777" y="1233663"/>
            <a:ext cx="4650647" cy="2196138"/>
            <a:chOff x="700177" y="1731099"/>
            <a:chExt cx="3200000" cy="1511111"/>
          </a:xfrm>
        </p:grpSpPr>
        <p:pic>
          <p:nvPicPr>
            <p:cNvPr id="23" name="Picture 22">
              <a:extLst>
                <a:ext uri="{FF2B5EF4-FFF2-40B4-BE49-F238E27FC236}">
                  <a16:creationId xmlns:a16="http://schemas.microsoft.com/office/drawing/2014/main" id="{B44BBCC3-DAC7-4146-8123-2A565A3475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177" y="1731099"/>
              <a:ext cx="3200000" cy="1511111"/>
            </a:xfrm>
            <a:prstGeom prst="rect">
              <a:avLst/>
            </a:prstGeom>
          </p:spPr>
        </p:pic>
        <p:sp>
          <p:nvSpPr>
            <p:cNvPr id="24" name="Rectangle 23">
              <a:extLst>
                <a:ext uri="{FF2B5EF4-FFF2-40B4-BE49-F238E27FC236}">
                  <a16:creationId xmlns:a16="http://schemas.microsoft.com/office/drawing/2014/main" id="{9F4BBE2B-F12A-47AC-BDDD-5F43C0F1F57D}"/>
                </a:ext>
              </a:extLst>
            </p:cNvPr>
            <p:cNvSpPr/>
            <p:nvPr/>
          </p:nvSpPr>
          <p:spPr>
            <a:xfrm>
              <a:off x="1873488" y="2125147"/>
              <a:ext cx="1358809" cy="36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Is this Anna’s voice?</a:t>
              </a:r>
            </a:p>
          </p:txBody>
        </p:sp>
        <p:sp>
          <p:nvSpPr>
            <p:cNvPr id="25" name="Rectangle 24">
              <a:extLst>
                <a:ext uri="{FF2B5EF4-FFF2-40B4-BE49-F238E27FC236}">
                  <a16:creationId xmlns:a16="http://schemas.microsoft.com/office/drawing/2014/main" id="{4967A96E-4EBA-4453-937D-DB584B885FF4}"/>
                </a:ext>
              </a:extLst>
            </p:cNvPr>
            <p:cNvSpPr/>
            <p:nvPr/>
          </p:nvSpPr>
          <p:spPr>
            <a:xfrm>
              <a:off x="3232297" y="2890614"/>
              <a:ext cx="545804" cy="265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Anna</a:t>
              </a:r>
            </a:p>
          </p:txBody>
        </p:sp>
      </p:grpSp>
      <p:grpSp>
        <p:nvGrpSpPr>
          <p:cNvPr id="26" name="Group 25">
            <a:extLst>
              <a:ext uri="{FF2B5EF4-FFF2-40B4-BE49-F238E27FC236}">
                <a16:creationId xmlns:a16="http://schemas.microsoft.com/office/drawing/2014/main" id="{55F172F3-C723-48E5-8753-144B6BC49D8A}"/>
              </a:ext>
            </a:extLst>
          </p:cNvPr>
          <p:cNvGrpSpPr/>
          <p:nvPr/>
        </p:nvGrpSpPr>
        <p:grpSpPr>
          <a:xfrm>
            <a:off x="6554062" y="3700914"/>
            <a:ext cx="4650647" cy="2196138"/>
            <a:chOff x="700177" y="4275164"/>
            <a:chExt cx="3200000" cy="1511111"/>
          </a:xfrm>
          <a:solidFill>
            <a:schemeClr val="bg1"/>
          </a:solidFill>
        </p:grpSpPr>
        <p:pic>
          <p:nvPicPr>
            <p:cNvPr id="27" name="Picture 26">
              <a:extLst>
                <a:ext uri="{FF2B5EF4-FFF2-40B4-BE49-F238E27FC236}">
                  <a16:creationId xmlns:a16="http://schemas.microsoft.com/office/drawing/2014/main" id="{8995A964-7922-4F32-A2D7-44BB7B8FA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177" y="4275164"/>
              <a:ext cx="3200000" cy="1511111"/>
            </a:xfrm>
            <a:prstGeom prst="rect">
              <a:avLst/>
            </a:prstGeom>
            <a:grpFill/>
          </p:spPr>
        </p:pic>
        <p:sp>
          <p:nvSpPr>
            <p:cNvPr id="28" name="Rectangle 27">
              <a:extLst>
                <a:ext uri="{FF2B5EF4-FFF2-40B4-BE49-F238E27FC236}">
                  <a16:creationId xmlns:a16="http://schemas.microsoft.com/office/drawing/2014/main" id="{9DA7EC17-8B97-4F0A-B296-CCE1345F9798}"/>
                </a:ext>
              </a:extLst>
            </p:cNvPr>
            <p:cNvSpPr/>
            <p:nvPr/>
          </p:nvSpPr>
          <p:spPr>
            <a:xfrm>
              <a:off x="3289004" y="5414074"/>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Anna</a:t>
              </a:r>
            </a:p>
          </p:txBody>
        </p:sp>
        <p:sp>
          <p:nvSpPr>
            <p:cNvPr id="29" name="Rectangle 28">
              <a:extLst>
                <a:ext uri="{FF2B5EF4-FFF2-40B4-BE49-F238E27FC236}">
                  <a16:creationId xmlns:a16="http://schemas.microsoft.com/office/drawing/2014/main" id="{F24BB0AE-2831-4151-9874-9070D84208E7}"/>
                </a:ext>
              </a:extLst>
            </p:cNvPr>
            <p:cNvSpPr/>
            <p:nvPr/>
          </p:nvSpPr>
          <p:spPr>
            <a:xfrm>
              <a:off x="783264" y="5385720"/>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Mike</a:t>
              </a:r>
            </a:p>
          </p:txBody>
        </p:sp>
        <p:sp>
          <p:nvSpPr>
            <p:cNvPr id="30" name="Rectangle 29">
              <a:extLst>
                <a:ext uri="{FF2B5EF4-FFF2-40B4-BE49-F238E27FC236}">
                  <a16:creationId xmlns:a16="http://schemas.microsoft.com/office/drawing/2014/main" id="{E530C795-B492-46AD-959E-90DD3987AFDB}"/>
                </a:ext>
              </a:extLst>
            </p:cNvPr>
            <p:cNvSpPr/>
            <p:nvPr/>
          </p:nvSpPr>
          <p:spPr>
            <a:xfrm>
              <a:off x="1397000" y="4847225"/>
              <a:ext cx="565001" cy="132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Marry</a:t>
              </a:r>
            </a:p>
          </p:txBody>
        </p:sp>
        <p:sp>
          <p:nvSpPr>
            <p:cNvPr id="31" name="Rectangle 30">
              <a:extLst>
                <a:ext uri="{FF2B5EF4-FFF2-40B4-BE49-F238E27FC236}">
                  <a16:creationId xmlns:a16="http://schemas.microsoft.com/office/drawing/2014/main" id="{606FED21-7BD5-492F-86CD-5EDA854CF58F}"/>
                </a:ext>
              </a:extLst>
            </p:cNvPr>
            <p:cNvSpPr/>
            <p:nvPr/>
          </p:nvSpPr>
          <p:spPr>
            <a:xfrm>
              <a:off x="2060689" y="4531145"/>
              <a:ext cx="1358809" cy="36150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Who’s voice is this?</a:t>
              </a:r>
            </a:p>
          </p:txBody>
        </p:sp>
      </p:grpSp>
      <p:pic>
        <p:nvPicPr>
          <p:cNvPr id="18" name="Picture 17">
            <a:extLst>
              <a:ext uri="{FF2B5EF4-FFF2-40B4-BE49-F238E27FC236}">
                <a16:creationId xmlns:a16="http://schemas.microsoft.com/office/drawing/2014/main" id="{F0CF5EE5-BCA0-43D5-BD15-32D40582B0E6}"/>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066952" y="324181"/>
            <a:ext cx="787848" cy="787848"/>
          </a:xfrm>
          <a:prstGeom prst="rect">
            <a:avLst/>
          </a:prstGeom>
        </p:spPr>
      </p:pic>
    </p:spTree>
    <p:extLst>
      <p:ext uri="{BB962C8B-B14F-4D97-AF65-F5344CB8AC3E}">
        <p14:creationId xmlns:p14="http://schemas.microsoft.com/office/powerpoint/2010/main" val="82676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LANGUAGE</a:t>
            </a:r>
          </a:p>
        </p:txBody>
      </p:sp>
      <p:sp>
        <p:nvSpPr>
          <p:cNvPr id="7" name="Rectangle 6">
            <a:extLst>
              <a:ext uri="{FF2B5EF4-FFF2-40B4-BE49-F238E27FC236}">
                <a16:creationId xmlns:a16="http://schemas.microsoft.com/office/drawing/2014/main" id="{96A5F23B-69A9-43B2-B9E9-5E2240830E5E}"/>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Process text and learn how to recognize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hat users want</a:t>
            </a:r>
          </a:p>
        </p:txBody>
      </p:sp>
      <p:sp>
        <p:nvSpPr>
          <p:cNvPr id="8" name="Rectangle 7">
            <a:extLst>
              <a:ext uri="{FF2B5EF4-FFF2-40B4-BE49-F238E27FC236}">
                <a16:creationId xmlns:a16="http://schemas.microsoft.com/office/drawing/2014/main" id="{B84923A9-783B-42C3-9B3C-B631C320CB78}"/>
              </a:ext>
            </a:extLst>
          </p:cNvPr>
          <p:cNvSpPr/>
          <p:nvPr/>
        </p:nvSpPr>
        <p:spPr>
          <a:xfrm>
            <a:off x="4267200"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Bing Spell Check | Language Understanding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guistic Analysis | Text Analytics | Web Language Model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ranslator Text and Speech</a:t>
            </a:r>
          </a:p>
        </p:txBody>
      </p:sp>
      <p:pic>
        <p:nvPicPr>
          <p:cNvPr id="9" name="Picture 8">
            <a:extLst>
              <a:ext uri="{FF2B5EF4-FFF2-40B4-BE49-F238E27FC236}">
                <a16:creationId xmlns:a16="http://schemas.microsoft.com/office/drawing/2014/main" id="{F6CD1D98-454F-4F83-AA37-2BBF4561B56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1772" y="2956044"/>
            <a:ext cx="728286" cy="728286"/>
          </a:xfrm>
          <a:prstGeom prst="rect">
            <a:avLst/>
          </a:prstGeom>
        </p:spPr>
      </p:pic>
    </p:spTree>
    <p:extLst>
      <p:ext uri="{BB962C8B-B14F-4D97-AF65-F5344CB8AC3E}">
        <p14:creationId xmlns:p14="http://schemas.microsoft.com/office/powerpoint/2010/main" val="374858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769C447-49A6-4B3B-8FB7-15E89F24517C}"/>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DA6050DD-597C-4FDA-8DB6-427A914C47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6652"/>
          <a:stretch/>
        </p:blipFill>
        <p:spPr>
          <a:xfrm>
            <a:off x="5638800" y="-9288"/>
            <a:ext cx="6555520" cy="6867288"/>
          </a:xfrm>
          <a:prstGeom prst="rect">
            <a:avLst/>
          </a:prstGeom>
        </p:spPr>
      </p:pic>
      <p:sp>
        <p:nvSpPr>
          <p:cNvPr id="4" name="Title 3">
            <a:extLst>
              <a:ext uri="{FF2B5EF4-FFF2-40B4-BE49-F238E27FC236}">
                <a16:creationId xmlns:a16="http://schemas.microsoft.com/office/drawing/2014/main" id="{894F8B44-F9C4-40A5-B044-05DE081B95B6}"/>
              </a:ext>
            </a:extLst>
          </p:cNvPr>
          <p:cNvSpPr>
            <a:spLocks noGrp="1"/>
          </p:cNvSpPr>
          <p:nvPr>
            <p:ph type="title"/>
          </p:nvPr>
        </p:nvSpPr>
        <p:spPr/>
        <p:txBody>
          <a:bodyPr/>
          <a:lstStyle/>
          <a:p>
            <a:r>
              <a:rPr lang="en-US" dirty="0">
                <a:gradFill>
                  <a:gsLst>
                    <a:gs pos="93333">
                      <a:schemeClr val="bg1"/>
                    </a:gs>
                    <a:gs pos="78667">
                      <a:schemeClr val="bg1"/>
                    </a:gs>
                  </a:gsLst>
                  <a:lin ang="5400000" scaled="0"/>
                </a:gradFill>
              </a:rPr>
              <a:t>Bing spell check </a:t>
            </a:r>
            <a:br>
              <a:rPr lang="en-US" dirty="0">
                <a:gradFill>
                  <a:gsLst>
                    <a:gs pos="93333">
                      <a:schemeClr val="bg1"/>
                    </a:gs>
                    <a:gs pos="78667">
                      <a:schemeClr val="bg1"/>
                    </a:gs>
                  </a:gsLst>
                  <a:lin ang="5400000" scaled="0"/>
                </a:gradFill>
              </a:rPr>
            </a:br>
            <a:r>
              <a:rPr lang="en-US" dirty="0">
                <a:gradFill>
                  <a:gsLst>
                    <a:gs pos="93333">
                      <a:schemeClr val="bg1"/>
                    </a:gs>
                    <a:gs pos="78667">
                      <a:schemeClr val="bg1"/>
                    </a:gs>
                  </a:gsLst>
                  <a:lin ang="5400000" scaled="0"/>
                </a:gradFill>
              </a:rPr>
              <a:t>API</a:t>
            </a:r>
          </a:p>
        </p:txBody>
      </p:sp>
      <p:sp>
        <p:nvSpPr>
          <p:cNvPr id="13" name="Rectangle 12">
            <a:extLst>
              <a:ext uri="{FF2B5EF4-FFF2-40B4-BE49-F238E27FC236}">
                <a16:creationId xmlns:a16="http://schemas.microsoft.com/office/drawing/2014/main" id="{79896822-D217-4225-BF94-89DFEFF3A04D}"/>
              </a:ext>
            </a:extLst>
          </p:cNvPr>
          <p:cNvSpPr/>
          <p:nvPr/>
        </p:nvSpPr>
        <p:spPr>
          <a:xfrm>
            <a:off x="266701" y="1958640"/>
            <a:ext cx="5067300" cy="366561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cloud-based spelling algorithm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cognizes a wide variety of spelling error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name errors and homonyms in contex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Difficult to spot errors that use the context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he words around them</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dates over tim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upport for new brands and coined expressions as they emerge</a:t>
            </a:r>
          </a:p>
        </p:txBody>
      </p:sp>
      <p:grpSp>
        <p:nvGrpSpPr>
          <p:cNvPr id="5" name="Group 4">
            <a:extLst>
              <a:ext uri="{FF2B5EF4-FFF2-40B4-BE49-F238E27FC236}">
                <a16:creationId xmlns:a16="http://schemas.microsoft.com/office/drawing/2014/main" id="{AF093A28-DD31-4B53-9D29-8F1AEAD856CF}"/>
              </a:ext>
            </a:extLst>
          </p:cNvPr>
          <p:cNvGrpSpPr/>
          <p:nvPr/>
        </p:nvGrpSpPr>
        <p:grpSpPr>
          <a:xfrm>
            <a:off x="11008690" y="265919"/>
            <a:ext cx="904372" cy="904372"/>
            <a:chOff x="11008690" y="265919"/>
            <a:chExt cx="904372" cy="904372"/>
          </a:xfrm>
        </p:grpSpPr>
        <p:sp>
          <p:nvSpPr>
            <p:cNvPr id="15" name="Oval 14">
              <a:extLst>
                <a:ext uri="{FF2B5EF4-FFF2-40B4-BE49-F238E27FC236}">
                  <a16:creationId xmlns:a16="http://schemas.microsoft.com/office/drawing/2014/main" id="{4B38AF09-2E1F-4E34-A5B7-2BD446E5BAF9}"/>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5E6694CB-D17C-4219-BEA0-18D3F4BD5FFC}"/>
                </a:ext>
              </a:extLst>
            </p:cNvPr>
            <p:cNvPicPr>
              <a:picLocks noChangeAspect="1"/>
            </p:cNvPicPr>
            <p:nvPr/>
          </p:nvPicPr>
          <p:blipFill rotWithShape="1">
            <a:blip r:embed="rId4">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374133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1F8ACF-5A20-4A15-BEA7-8F1A39580FB1}"/>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p:cNvSpPr/>
          <p:nvPr/>
        </p:nvSpPr>
        <p:spPr bwMode="auto">
          <a:xfrm>
            <a:off x="5638800" y="0"/>
            <a:ext cx="65532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538686" y="1459803"/>
            <a:ext cx="4712632" cy="4980077"/>
            <a:chOff x="-763556" y="2420956"/>
            <a:chExt cx="3993302" cy="4219925"/>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556" y="2420956"/>
              <a:ext cx="3993302" cy="112311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556" y="3969359"/>
              <a:ext cx="3993302" cy="1123116"/>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556" y="5517764"/>
              <a:ext cx="3993302" cy="1123117"/>
            </a:xfrm>
            <a:prstGeom prst="rect">
              <a:avLst/>
            </a:prstGeom>
          </p:spPr>
        </p:pic>
      </p:grpSp>
      <p:sp>
        <p:nvSpPr>
          <p:cNvPr id="4" name="Title 3"/>
          <p:cNvSpPr>
            <a:spLocks noGrp="1"/>
          </p:cNvSpPr>
          <p:nvPr>
            <p:ph type="title"/>
          </p:nvPr>
        </p:nvSpPr>
        <p:spPr/>
        <p:txBody>
          <a:bodyPr/>
          <a:lstStyle/>
          <a:p>
            <a:r>
              <a:rPr lang="en-US" dirty="0"/>
              <a:t>Bing spell check </a:t>
            </a:r>
            <a:br>
              <a:rPr lang="en-US" dirty="0"/>
            </a:br>
            <a:r>
              <a:rPr lang="en-US" dirty="0"/>
              <a:t>API</a:t>
            </a:r>
          </a:p>
        </p:txBody>
      </p:sp>
      <p:sp>
        <p:nvSpPr>
          <p:cNvPr id="35" name="TextBox 34"/>
          <p:cNvSpPr txBox="1"/>
          <p:nvPr/>
        </p:nvSpPr>
        <p:spPr>
          <a:xfrm>
            <a:off x="266702" y="2935455"/>
            <a:ext cx="4565652" cy="870737"/>
          </a:xfrm>
          <a:prstGeom prst="rect">
            <a:avLst/>
          </a:prstGeom>
          <a:noFill/>
        </p:spPr>
        <p:txBody>
          <a:bodyPr wrap="none" lIns="182711" tIns="146170" rIns="182711" bIns="146170" rtlCol="0">
            <a:spAutoFit/>
          </a:bodyPr>
          <a:lstStyle/>
          <a:p>
            <a:pPr marL="0" marR="0" lvl="0" indent="0" algn="l" defTabSz="913490"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Our engineers developed this </a:t>
            </a:r>
            <a:r>
              <a:rPr kumimoji="0" lang="en-US" sz="1800" b="1"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four</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you!”</a:t>
            </a:r>
          </a:p>
          <a:p>
            <a:pPr marL="0" marR="0" lvl="0" indent="0" algn="l" defTabSz="913490"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Corrected Text: “four” </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wf_segoe-ui_normal"/>
                <a:ea typeface="+mn-ea"/>
                <a:cs typeface="+mn-cs"/>
                <a:sym typeface="Wingdings" panose="05000000000000000000" pitchFamily="2" charset="2"/>
              </a:rPr>
              <a:t></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for” </a:t>
            </a:r>
          </a:p>
        </p:txBody>
      </p:sp>
      <p:sp>
        <p:nvSpPr>
          <p:cNvPr id="36" name="Rectangle 35"/>
          <p:cNvSpPr/>
          <p:nvPr/>
        </p:nvSpPr>
        <p:spPr>
          <a:xfrm>
            <a:off x="266701" y="2222268"/>
            <a:ext cx="7293998" cy="587991"/>
          </a:xfrm>
          <a:prstGeom prst="rect">
            <a:avLst/>
          </a:prstGeom>
        </p:spPr>
        <p:txBody>
          <a:bodyPr wrap="square" lIns="143336" rIns="0">
            <a:no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heck a single word or a </a:t>
            </a:r>
            <a:b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hole sentence</a:t>
            </a:r>
          </a:p>
        </p:txBody>
      </p:sp>
      <p:grpSp>
        <p:nvGrpSpPr>
          <p:cNvPr id="47" name="Group 46"/>
          <p:cNvGrpSpPr/>
          <p:nvPr/>
        </p:nvGrpSpPr>
        <p:grpSpPr>
          <a:xfrm>
            <a:off x="-187203" y="3911614"/>
            <a:ext cx="7747902" cy="2587883"/>
            <a:chOff x="5666315" y="1479477"/>
            <a:chExt cx="6517754" cy="2641460"/>
          </a:xfrm>
        </p:grpSpPr>
        <p:sp>
          <p:nvSpPr>
            <p:cNvPr id="48" name="TextBox 47"/>
            <p:cNvSpPr txBox="1"/>
            <p:nvPr/>
          </p:nvSpPr>
          <p:spPr>
            <a:xfrm>
              <a:off x="5666315" y="1810363"/>
              <a:ext cx="3860572" cy="2310574"/>
            </a:xfrm>
            <a:prstGeom prst="rect">
              <a:avLst/>
            </a:prstGeom>
            <a:noFill/>
          </p:spPr>
          <p:txBody>
            <a:bodyPr wrap="none" lIns="182711" tIns="146170" rIns="182711" bIns="146170" rtlCol="0">
              <a:spAutoFit/>
            </a:bodyPr>
            <a:lstStyle/>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spellingErrors</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offset": 5,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token":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gona</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type":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UnknownToken</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suggestions":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token":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gonna</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 </a:t>
              </a:r>
              <a:endParaRPr kumimoji="0" lang="en-US" alt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Segoe UI" panose="020B0502040204020203" pitchFamily="34" charset="0"/>
              </a:endParaRPr>
            </a:p>
          </p:txBody>
        </p:sp>
        <p:sp>
          <p:nvSpPr>
            <p:cNvPr id="49" name="Rectangle 48"/>
            <p:cNvSpPr/>
            <p:nvPr/>
          </p:nvSpPr>
          <p:spPr>
            <a:xfrm>
              <a:off x="6048152" y="1479477"/>
              <a:ext cx="6135917" cy="600164"/>
            </a:xfrm>
            <a:prstGeom prst="rect">
              <a:avLst/>
            </a:prstGeom>
          </p:spPr>
          <p:txBody>
            <a:bodyPr wrap="square" lIns="143336" rIns="0">
              <a:no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y errors &amp; get suggestions</a:t>
              </a:r>
            </a:p>
          </p:txBody>
        </p:sp>
      </p:grpSp>
      <p:grpSp>
        <p:nvGrpSpPr>
          <p:cNvPr id="23" name="Group 22">
            <a:extLst>
              <a:ext uri="{FF2B5EF4-FFF2-40B4-BE49-F238E27FC236}">
                <a16:creationId xmlns:a16="http://schemas.microsoft.com/office/drawing/2014/main" id="{B3F10DBB-94D0-41AE-85B9-68FB9CA6B715}"/>
              </a:ext>
            </a:extLst>
          </p:cNvPr>
          <p:cNvGrpSpPr/>
          <p:nvPr/>
        </p:nvGrpSpPr>
        <p:grpSpPr>
          <a:xfrm>
            <a:off x="11008690" y="265919"/>
            <a:ext cx="904372" cy="904372"/>
            <a:chOff x="11008690" y="265919"/>
            <a:chExt cx="904372" cy="904372"/>
          </a:xfrm>
        </p:grpSpPr>
        <p:sp>
          <p:nvSpPr>
            <p:cNvPr id="24" name="Oval 23">
              <a:extLst>
                <a:ext uri="{FF2B5EF4-FFF2-40B4-BE49-F238E27FC236}">
                  <a16:creationId xmlns:a16="http://schemas.microsoft.com/office/drawing/2014/main" id="{9FF93704-6388-4021-BC45-A81F68A49C6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0EDF3FF5-5D1C-485D-A5B0-FF82BFFAD5BA}"/>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21226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microsoft.sharepoint.com/teams/BrandCentral/BundleImages/3404WIN14_Carlotta_Nokia_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131" t="830" r="905" b="1"/>
          <a:stretch/>
        </p:blipFill>
        <p:spPr bwMode="auto">
          <a:xfrm flipH="1">
            <a:off x="5638799" y="0"/>
            <a:ext cx="6548447" cy="687665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92EF02DF-16E4-4794-8C18-14095A8357E3}"/>
              </a:ext>
            </a:extLst>
          </p:cNvPr>
          <p:cNvSpPr/>
          <p:nvPr/>
        </p:nvSpPr>
        <p:spPr bwMode="auto">
          <a:xfrm>
            <a:off x="0" y="0"/>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6EF0667-AC9B-4C3E-AA42-95A0F8D889CF}"/>
              </a:ext>
            </a:extLst>
          </p:cNvPr>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sp>
        <p:nvSpPr>
          <p:cNvPr id="13" name="Oval 12">
            <a:extLst>
              <a:ext uri="{FF2B5EF4-FFF2-40B4-BE49-F238E27FC236}">
                <a16:creationId xmlns:a16="http://schemas.microsoft.com/office/drawing/2014/main" id="{55BBC647-9BB3-4CC0-AE31-268ACE631278}"/>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7F0E585B-F1C8-4AB4-BA46-7BEF6F991F17}"/>
              </a:ext>
            </a:extLst>
          </p:cNvPr>
          <p:cNvSpPr/>
          <p:nvPr/>
        </p:nvSpPr>
        <p:spPr>
          <a:xfrm>
            <a:off x="266701" y="3755635"/>
            <a:ext cx="5067300" cy="153580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derstand what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your users are say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pre-built Bing and Cortan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ls or create your own</a:t>
            </a:r>
          </a:p>
        </p:txBody>
      </p:sp>
      <p:pic>
        <p:nvPicPr>
          <p:cNvPr id="10" name="Picture 9">
            <a:extLst>
              <a:ext uri="{FF2B5EF4-FFF2-40B4-BE49-F238E27FC236}">
                <a16:creationId xmlns:a16="http://schemas.microsoft.com/office/drawing/2014/main" id="{9077B1F3-E40A-455C-9CBC-0615823782D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40600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animEffect transition="in" filter="fade">
                                      <p:cBhvr>
                                        <p:cTn id="11"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B964EC7-96A8-4548-A431-A82F2979EC76}"/>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grpSp>
        <p:nvGrpSpPr>
          <p:cNvPr id="12" name="Group 11">
            <a:extLst>
              <a:ext uri="{FF2B5EF4-FFF2-40B4-BE49-F238E27FC236}">
                <a16:creationId xmlns:a16="http://schemas.microsoft.com/office/drawing/2014/main" id="{9140EECB-8380-498A-9A88-8C0F69C7BA35}"/>
              </a:ext>
            </a:extLst>
          </p:cNvPr>
          <p:cNvGrpSpPr/>
          <p:nvPr/>
        </p:nvGrpSpPr>
        <p:grpSpPr>
          <a:xfrm>
            <a:off x="5827387" y="2186608"/>
            <a:ext cx="6116839" cy="1707511"/>
            <a:chOff x="466834" y="4474276"/>
            <a:chExt cx="11272552" cy="2209769"/>
          </a:xfrm>
        </p:grpSpPr>
        <p:grpSp>
          <p:nvGrpSpPr>
            <p:cNvPr id="15" name="Group 14"/>
            <p:cNvGrpSpPr/>
            <p:nvPr/>
          </p:nvGrpSpPr>
          <p:grpSpPr>
            <a:xfrm>
              <a:off x="466834" y="4474276"/>
              <a:ext cx="2230770" cy="2209769"/>
              <a:chOff x="471714" y="4259262"/>
              <a:chExt cx="2277277" cy="2255838"/>
            </a:xfrm>
          </p:grpSpPr>
          <p:sp>
            <p:nvSpPr>
              <p:cNvPr id="4" name="Rectangle 3"/>
              <p:cNvSpPr/>
              <p:nvPr/>
            </p:nvSpPr>
            <p:spPr bwMode="auto">
              <a:xfrm>
                <a:off x="471714"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808038" y="4987638"/>
                <a:ext cx="1940953"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fine </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cepts</a:t>
                </a:r>
              </a:p>
            </p:txBody>
          </p:sp>
        </p:grpSp>
        <p:grpSp>
          <p:nvGrpSpPr>
            <p:cNvPr id="10" name="Group 9"/>
            <p:cNvGrpSpPr/>
            <p:nvPr/>
          </p:nvGrpSpPr>
          <p:grpSpPr>
            <a:xfrm>
              <a:off x="2868539" y="4474276"/>
              <a:ext cx="2534616" cy="2209769"/>
              <a:chOff x="2923490" y="4259262"/>
              <a:chExt cx="2587457" cy="2255838"/>
            </a:xfrm>
          </p:grpSpPr>
          <p:grpSp>
            <p:nvGrpSpPr>
              <p:cNvPr id="2" name="Group 1"/>
              <p:cNvGrpSpPr/>
              <p:nvPr/>
            </p:nvGrpSpPr>
            <p:grpSpPr>
              <a:xfrm>
                <a:off x="2923490" y="4259262"/>
                <a:ext cx="2273985" cy="2255838"/>
                <a:chOff x="2923490" y="4259262"/>
                <a:chExt cx="2273985" cy="2255838"/>
              </a:xfrm>
            </p:grpSpPr>
            <p:sp>
              <p:nvSpPr>
                <p:cNvPr id="26" name="Rectangle 25"/>
                <p:cNvSpPr/>
                <p:nvPr/>
              </p:nvSpPr>
              <p:spPr bwMode="auto">
                <a:xfrm>
                  <a:off x="2941637"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Isosceles Triangle 4"/>
                <p:cNvSpPr/>
                <p:nvPr/>
              </p:nvSpPr>
              <p:spPr bwMode="auto">
                <a:xfrm rot="5400000">
                  <a:off x="2860591" y="5096881"/>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p:cNvSpPr txBox="1"/>
              <p:nvPr/>
            </p:nvSpPr>
            <p:spPr>
              <a:xfrm>
                <a:off x="3504043" y="4987637"/>
                <a:ext cx="2006904"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rovide</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amples</a:t>
                </a:r>
              </a:p>
            </p:txBody>
          </p:sp>
        </p:grpSp>
        <p:grpSp>
          <p:nvGrpSpPr>
            <p:cNvPr id="9" name="Group 8"/>
            <p:cNvGrpSpPr/>
            <p:nvPr/>
          </p:nvGrpSpPr>
          <p:grpSpPr>
            <a:xfrm>
              <a:off x="5320556" y="4474276"/>
              <a:ext cx="6418830" cy="2209769"/>
              <a:chOff x="5426626" y="4259262"/>
              <a:chExt cx="6552649" cy="2255838"/>
            </a:xfrm>
          </p:grpSpPr>
          <p:grpSp>
            <p:nvGrpSpPr>
              <p:cNvPr id="6" name="Group 5"/>
              <p:cNvGrpSpPr/>
              <p:nvPr/>
            </p:nvGrpSpPr>
            <p:grpSpPr>
              <a:xfrm>
                <a:off x="5426626" y="4259262"/>
                <a:ext cx="6552649" cy="2255838"/>
                <a:chOff x="5426626" y="4259262"/>
                <a:chExt cx="6552649" cy="2255838"/>
              </a:xfrm>
            </p:grpSpPr>
            <p:sp>
              <p:nvSpPr>
                <p:cNvPr id="27" name="Rectangle 26"/>
                <p:cNvSpPr/>
                <p:nvPr/>
              </p:nvSpPr>
              <p:spPr bwMode="auto">
                <a:xfrm>
                  <a:off x="5456237" y="4259262"/>
                  <a:ext cx="65230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Isosceles Triangle 27"/>
                <p:cNvSpPr/>
                <p:nvPr/>
              </p:nvSpPr>
              <p:spPr bwMode="auto">
                <a:xfrm rot="5400000">
                  <a:off x="5363727" y="5096883"/>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p:cNvSpPr/>
              <p:nvPr/>
            </p:nvSpPr>
            <p:spPr>
              <a:xfrm>
                <a:off x="8885237" y="5097462"/>
                <a:ext cx="2655196"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tive learning</a:t>
                </a:r>
              </a:p>
            </p:txBody>
          </p:sp>
          <p:sp>
            <p:nvSpPr>
              <p:cNvPr id="23" name="Rectangle 22"/>
              <p:cNvSpPr/>
              <p:nvPr/>
            </p:nvSpPr>
            <p:spPr>
              <a:xfrm>
                <a:off x="6151562" y="5097462"/>
                <a:ext cx="2069281"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ploy</a:t>
                </a:r>
              </a:p>
            </p:txBody>
          </p:sp>
          <p:sp>
            <p:nvSpPr>
              <p:cNvPr id="35" name="Left Bracket 34"/>
              <p:cNvSpPr/>
              <p:nvPr/>
            </p:nvSpPr>
            <p:spPr>
              <a:xfrm rot="5400000">
                <a:off x="8675686" y="3325813"/>
                <a:ext cx="266702" cy="3200400"/>
              </a:xfrm>
              <a:prstGeom prst="leftBracket">
                <a:avLst>
                  <a:gd name="adj" fmla="val 69285"/>
                </a:avLst>
              </a:prstGeom>
              <a:ln w="38100" cap="rnd">
                <a:solidFill>
                  <a:srgbClr val="F3F3F3"/>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6" name="Left Bracket 35"/>
              <p:cNvSpPr/>
              <p:nvPr/>
            </p:nvSpPr>
            <p:spPr>
              <a:xfrm rot="16200000" flipV="1">
                <a:off x="8675686" y="4312105"/>
                <a:ext cx="266702" cy="3200400"/>
              </a:xfrm>
              <a:prstGeom prst="leftBracket">
                <a:avLst>
                  <a:gd name="adj" fmla="val 69285"/>
                </a:avLst>
              </a:prstGeom>
              <a:ln w="38100" cap="rnd">
                <a:solidFill>
                  <a:srgbClr val="F3F3F3"/>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090A7143-7003-4E1D-B189-03251D94A49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F10F12A-850E-430F-9396-D73C3E916D06}"/>
              </a:ext>
            </a:extLst>
          </p:cNvPr>
          <p:cNvSpPr/>
          <p:nvPr/>
        </p:nvSpPr>
        <p:spPr>
          <a:xfrm>
            <a:off x="266701" y="2531176"/>
            <a:ext cx="5067300" cy="395492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 labeling effort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interactive featuring</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 visualizations to gauge performance and improvements</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everage speech recognition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seamless integr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using just a few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xamples with active learning</a:t>
            </a:r>
          </a:p>
        </p:txBody>
      </p:sp>
      <p:pic>
        <p:nvPicPr>
          <p:cNvPr id="29" name="Picture 28">
            <a:extLst>
              <a:ext uri="{FF2B5EF4-FFF2-40B4-BE49-F238E27FC236}">
                <a16:creationId xmlns:a16="http://schemas.microsoft.com/office/drawing/2014/main" id="{7E48EE40-2684-4028-8329-345E3CD0A4DE}"/>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048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xEl>
                                              <p:pRg st="2" end="2"/>
                                            </p:txEl>
                                          </p:spTgt>
                                        </p:tgtEl>
                                        <p:attrNameLst>
                                          <p:attrName>style.visibility</p:attrName>
                                        </p:attrNameLst>
                                      </p:cBhvr>
                                      <p:to>
                                        <p:strVal val="visible"/>
                                      </p:to>
                                    </p:set>
                                    <p:animEffect transition="in" filter="fade">
                                      <p:cBhvr>
                                        <p:cTn id="17" dur="500"/>
                                        <p:tgtEl>
                                          <p:spTgt spid="3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xEl>
                                              <p:pRg st="3" end="3"/>
                                            </p:txEl>
                                          </p:spTgt>
                                        </p:tgtEl>
                                        <p:attrNameLst>
                                          <p:attrName>style.visibility</p:attrName>
                                        </p:attrNameLst>
                                      </p:cBhvr>
                                      <p:to>
                                        <p:strVal val="visible"/>
                                      </p:to>
                                    </p:set>
                                    <p:animEffect transition="in" filter="fade">
                                      <p:cBhvr>
                                        <p:cTn id="22" dur="500"/>
                                        <p:tgtEl>
                                          <p:spTgt spid="3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57F2A9-0A76-4EB6-86C1-35530F789B88}"/>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 name="Group 6"/>
          <p:cNvGrpSpPr/>
          <p:nvPr/>
        </p:nvGrpSpPr>
        <p:grpSpPr>
          <a:xfrm>
            <a:off x="5638800" y="1"/>
            <a:ext cx="7002828" cy="6867749"/>
            <a:chOff x="5751504" y="-313263"/>
            <a:chExt cx="7148825" cy="7010927"/>
          </a:xfrm>
        </p:grpSpPr>
        <p:sp>
          <p:nvSpPr>
            <p:cNvPr id="8" name="Rectangle 7"/>
            <p:cNvSpPr/>
            <p:nvPr/>
          </p:nvSpPr>
          <p:spPr bwMode="auto">
            <a:xfrm>
              <a:off x="5751504" y="-313263"/>
              <a:ext cx="6684971" cy="7010927"/>
            </a:xfrm>
            <a:prstGeom prst="rect">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73" tIns="44786" rIns="89573" bIns="44786" numCol="1" anchor="t" anchorCtr="0" compatLnSpc="1">
              <a:prstTxWarp prst="textNoShape">
                <a:avLst/>
              </a:prstTxWarp>
            </a:bodyPr>
            <a:lstStyle/>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9" name="TextBox 7"/>
            <p:cNvSpPr txBox="1"/>
            <p:nvPr/>
          </p:nvSpPr>
          <p:spPr>
            <a:xfrm>
              <a:off x="6236004" y="449141"/>
              <a:ext cx="6664325" cy="6233714"/>
            </a:xfrm>
            <a:prstGeom prst="rect">
              <a:avLst/>
            </a:prstGeom>
            <a:noFill/>
          </p:spPr>
          <p:txBody>
            <a:bodyPr wrap="square" lIns="179145" tIns="143316" rIns="179145" bIns="143316" rtlCol="0">
              <a:spAutoFit/>
            </a:bodyPr>
            <a:lstStyle/>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ie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y”: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light_delay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type”: “Topic”</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in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99853384</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None”,</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728931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Rea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16712242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Share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1.0919299E-06</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grpSp>
        <p:nvGrpSpPr>
          <p:cNvPr id="2" name="Group 1"/>
          <p:cNvGrpSpPr/>
          <p:nvPr/>
        </p:nvGrpSpPr>
        <p:grpSpPr>
          <a:xfrm>
            <a:off x="177385" y="2651566"/>
            <a:ext cx="4986348" cy="4216183"/>
            <a:chOff x="-1" y="1439862"/>
            <a:chExt cx="6218238" cy="5257801"/>
          </a:xfrm>
        </p:grpSpPr>
        <p:grpSp>
          <p:nvGrpSpPr>
            <p:cNvPr id="12" name="Group 11"/>
            <p:cNvGrpSpPr/>
            <p:nvPr/>
          </p:nvGrpSpPr>
          <p:grpSpPr>
            <a:xfrm>
              <a:off x="-1" y="1439862"/>
              <a:ext cx="6218238" cy="5257801"/>
              <a:chOff x="-1" y="1439862"/>
              <a:chExt cx="6218238" cy="5257801"/>
            </a:xfrm>
          </p:grpSpPr>
          <p:sp>
            <p:nvSpPr>
              <p:cNvPr id="14" name="Pentagon 13"/>
              <p:cNvSpPr/>
              <p:nvPr/>
            </p:nvSpPr>
            <p:spPr bwMode="auto">
              <a:xfrm>
                <a:off x="-1" y="1439862"/>
                <a:ext cx="6218238" cy="5257801"/>
              </a:xfrm>
              <a:prstGeom prst="homePlate">
                <a:avLst>
                  <a:gd name="adj" fmla="val 2238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Callout 6"/>
              <p:cNvSpPr/>
              <p:nvPr/>
            </p:nvSpPr>
            <p:spPr bwMode="auto">
              <a:xfrm>
                <a:off x="1253111" y="1697695"/>
                <a:ext cx="3399704" cy="1483917"/>
              </a:xfrm>
              <a:prstGeom prst="wedgeRectCallout">
                <a:avLst>
                  <a:gd name="adj1" fmla="val -32733"/>
                  <a:gd name="adj2" fmla="val 6704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225425" marR="0" lvl="0" indent="-225425" algn="ctr" defTabSz="913303" rtl="0" eaLnBrk="1" fontAlgn="auto" latinLnBrk="0" hangingPunct="1">
                  <a:lnSpc>
                    <a:spcPts val="2351"/>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News about </a:t>
                </a:r>
                <a:b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b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flight delays”</a:t>
                </a:r>
              </a:p>
            </p:txBody>
          </p:sp>
        </p:grpSp>
        <p:sp>
          <p:nvSpPr>
            <p:cNvPr id="13" name="Freeform 12"/>
            <p:cNvSpPr>
              <a:spLocks noChangeAspect="1"/>
            </p:cNvSpPr>
            <p:nvPr/>
          </p:nvSpPr>
          <p:spPr bwMode="auto">
            <a:xfrm>
              <a:off x="274637" y="3735690"/>
              <a:ext cx="2820713" cy="2961973"/>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chemeClr val="bg1">
                <a:alpha val="30000"/>
              </a:schemeClr>
            </a:solidFill>
            <a:ln>
              <a:noFill/>
            </a:ln>
            <a:extLst/>
          </p:spPr>
          <p:txBody>
            <a:bodyPr vert="horz" wrap="square" lIns="89573" tIns="44786" rIns="89573" bIns="44786" numCol="1" anchor="t" anchorCtr="0" compatLnSpc="1">
              <a:prstTxWarp prst="textNoShape">
                <a:avLst/>
              </a:prstTxWarp>
            </a:bodyPr>
            <a:lstStyle/>
            <a:p>
              <a:pPr marL="0" marR="0" lvl="0" indent="0" algn="just" defTabSz="895629"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grpSp>
      <p:sp>
        <p:nvSpPr>
          <p:cNvPr id="4" name="Title 3"/>
          <p:cNvSpPr>
            <a:spLocks noGrp="1"/>
          </p:cNvSpPr>
          <p:nvPr>
            <p:ph type="title"/>
          </p:nvPr>
        </p:nvSpPr>
        <p:spPr/>
        <p:txBody>
          <a:bodyPr/>
          <a:lstStyle/>
          <a:p>
            <a:pPr defTabSz="931993">
              <a:defRPr/>
            </a:pPr>
            <a:r>
              <a:rPr lang="en-US" sz="4702" spc="-102">
                <a:solidFill>
                  <a:schemeClr val="bg1"/>
                </a:solidFill>
              </a:rPr>
              <a:t>Language </a:t>
            </a:r>
            <a:br>
              <a:rPr lang="en-US" sz="4702" spc="-102">
                <a:solidFill>
                  <a:schemeClr val="bg1"/>
                </a:solidFill>
              </a:rPr>
            </a:br>
            <a:r>
              <a:rPr lang="en-US" sz="4702" spc="-102">
                <a:solidFill>
                  <a:schemeClr val="bg1"/>
                </a:solidFill>
              </a:rPr>
              <a:t>understanding </a:t>
            </a:r>
            <a:br>
              <a:rPr lang="en-US" sz="4702" spc="-102">
                <a:solidFill>
                  <a:schemeClr val="bg1"/>
                </a:solidFill>
              </a:rPr>
            </a:br>
            <a:r>
              <a:rPr lang="en-US" sz="4702" spc="-102">
                <a:solidFill>
                  <a:schemeClr val="bg1"/>
                </a:solidFill>
              </a:rPr>
              <a:t>models</a:t>
            </a:r>
          </a:p>
        </p:txBody>
      </p:sp>
      <p:sp>
        <p:nvSpPr>
          <p:cNvPr id="19" name="Oval 18">
            <a:extLst>
              <a:ext uri="{FF2B5EF4-FFF2-40B4-BE49-F238E27FC236}">
                <a16:creationId xmlns:a16="http://schemas.microsoft.com/office/drawing/2014/main" id="{960B4528-1155-4A99-939C-4E58CF8EECC1}"/>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30">
            <a:extLst>
              <a:ext uri="{FF2B5EF4-FFF2-40B4-BE49-F238E27FC236}">
                <a16:creationId xmlns:a16="http://schemas.microsoft.com/office/drawing/2014/main" id="{06967276-ED69-4C81-909F-88EE7E19BE5F}"/>
              </a:ext>
            </a:extLst>
          </p:cNvPr>
          <p:cNvGrpSpPr>
            <a:grpSpLocks noChangeAspect="1"/>
          </p:cNvGrpSpPr>
          <p:nvPr/>
        </p:nvGrpSpPr>
        <p:grpSpPr bwMode="auto">
          <a:xfrm>
            <a:off x="4740661" y="3241754"/>
            <a:ext cx="423072" cy="423071"/>
            <a:chOff x="8" y="7"/>
            <a:chExt cx="513" cy="513"/>
          </a:xfrm>
        </p:grpSpPr>
        <p:sp>
          <p:nvSpPr>
            <p:cNvPr id="23" name="Line 31">
              <a:extLst>
                <a:ext uri="{FF2B5EF4-FFF2-40B4-BE49-F238E27FC236}">
                  <a16:creationId xmlns:a16="http://schemas.microsoft.com/office/drawing/2014/main" id="{4F541D4E-0659-423D-8490-06F73CEBC129}"/>
                </a:ext>
              </a:extLst>
            </p:cNvPr>
            <p:cNvSpPr>
              <a:spLocks noChangeShapeType="1"/>
            </p:cNvSpPr>
            <p:nvPr/>
          </p:nvSpPr>
          <p:spPr bwMode="auto">
            <a:xfrm>
              <a:off x="131" y="262"/>
              <a:ext cx="246" cy="0"/>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32">
              <a:extLst>
                <a:ext uri="{FF2B5EF4-FFF2-40B4-BE49-F238E27FC236}">
                  <a16:creationId xmlns:a16="http://schemas.microsoft.com/office/drawing/2014/main" id="{84DBB20E-1DFD-4956-A892-86115208A9E6}"/>
                </a:ext>
              </a:extLst>
            </p:cNvPr>
            <p:cNvSpPr>
              <a:spLocks/>
            </p:cNvSpPr>
            <p:nvPr/>
          </p:nvSpPr>
          <p:spPr bwMode="auto">
            <a:xfrm>
              <a:off x="261" y="138"/>
              <a:ext cx="125" cy="249"/>
            </a:xfrm>
            <a:custGeom>
              <a:avLst/>
              <a:gdLst>
                <a:gd name="T0" fmla="*/ 0 w 125"/>
                <a:gd name="T1" fmla="*/ 0 h 249"/>
                <a:gd name="T2" fmla="*/ 125 w 125"/>
                <a:gd name="T3" fmla="*/ 124 h 249"/>
                <a:gd name="T4" fmla="*/ 0 w 125"/>
                <a:gd name="T5" fmla="*/ 249 h 249"/>
              </a:gdLst>
              <a:ahLst/>
              <a:cxnLst>
                <a:cxn ang="0">
                  <a:pos x="T0" y="T1"/>
                </a:cxn>
                <a:cxn ang="0">
                  <a:pos x="T2" y="T3"/>
                </a:cxn>
                <a:cxn ang="0">
                  <a:pos x="T4" y="T5"/>
                </a:cxn>
              </a:cxnLst>
              <a:rect l="0" t="0" r="r" b="b"/>
              <a:pathLst>
                <a:path w="125" h="249">
                  <a:moveTo>
                    <a:pt x="0" y="0"/>
                  </a:moveTo>
                  <a:lnTo>
                    <a:pt x="125" y="124"/>
                  </a:lnTo>
                  <a:lnTo>
                    <a:pt x="0" y="249"/>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Oval 33">
              <a:extLst>
                <a:ext uri="{FF2B5EF4-FFF2-40B4-BE49-F238E27FC236}">
                  <a16:creationId xmlns:a16="http://schemas.microsoft.com/office/drawing/2014/main" id="{83F23A83-A983-477A-961E-691779EAA25E}"/>
                </a:ext>
              </a:extLst>
            </p:cNvPr>
            <p:cNvSpPr>
              <a:spLocks noChangeArrowheads="1"/>
            </p:cNvSpPr>
            <p:nvPr/>
          </p:nvSpPr>
          <p:spPr bwMode="auto">
            <a:xfrm>
              <a:off x="8" y="7"/>
              <a:ext cx="513" cy="513"/>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5" name="Picture 4">
            <a:extLst>
              <a:ext uri="{FF2B5EF4-FFF2-40B4-BE49-F238E27FC236}">
                <a16:creationId xmlns:a16="http://schemas.microsoft.com/office/drawing/2014/main" id="{98F01413-46D8-468E-B63C-73BB556212E9}"/>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69688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B1AD87-F7D5-48E9-B90F-F1FCA17C2F38}"/>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6347811F-A82A-473C-9B49-ED824DDBCEBC}"/>
              </a:ext>
            </a:extLst>
          </p:cNvPr>
          <p:cNvPicPr>
            <a:picLocks noChangeAspect="1"/>
          </p:cNvPicPr>
          <p:nvPr/>
        </p:nvPicPr>
        <p:blipFill>
          <a:blip r:embed="rId3"/>
          <a:stretch>
            <a:fillRect/>
          </a:stretch>
        </p:blipFill>
        <p:spPr>
          <a:xfrm>
            <a:off x="0" y="472669"/>
            <a:ext cx="12192000" cy="5912662"/>
          </a:xfrm>
          <a:prstGeom prst="rect">
            <a:avLst/>
          </a:prstGeom>
        </p:spPr>
      </p:pic>
    </p:spTree>
    <p:extLst>
      <p:ext uri="{BB962C8B-B14F-4D97-AF65-F5344CB8AC3E}">
        <p14:creationId xmlns:p14="http://schemas.microsoft.com/office/powerpoint/2010/main" val="429320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2813" t="9874" r="36660" b="26328"/>
          <a:stretch/>
        </p:blipFill>
        <p:spPr>
          <a:xfrm>
            <a:off x="5638799" y="-9287"/>
            <a:ext cx="6547585" cy="6871635"/>
          </a:xfrm>
          <a:prstGeom prst="rect">
            <a:avLst/>
          </a:prstGeom>
        </p:spPr>
      </p:pic>
      <p:sp>
        <p:nvSpPr>
          <p:cNvPr id="9" name="Rectangle 8">
            <a:extLst>
              <a:ext uri="{FF2B5EF4-FFF2-40B4-BE49-F238E27FC236}">
                <a16:creationId xmlns:a16="http://schemas.microsoft.com/office/drawing/2014/main" id="{75FF729D-32CA-4668-AE72-E9E2DD694DCB}"/>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FFAAD9B-D89D-45A4-87E7-2CFF80701601}"/>
              </a:ext>
            </a:extLst>
          </p:cNvPr>
          <p:cNvSpPr>
            <a:spLocks noGrp="1"/>
          </p:cNvSpPr>
          <p:nvPr>
            <p:ph type="title"/>
          </p:nvPr>
        </p:nvSpPr>
        <p:spPr/>
        <p:txBody>
          <a:bodyPr/>
          <a:lstStyle/>
          <a:p>
            <a:r>
              <a:rPr lang="en-US"/>
              <a:t>Linguistic analysis</a:t>
            </a:r>
          </a:p>
        </p:txBody>
      </p:sp>
      <p:sp>
        <p:nvSpPr>
          <p:cNvPr id="12" name="Oval 11">
            <a:extLst>
              <a:ext uri="{FF2B5EF4-FFF2-40B4-BE49-F238E27FC236}">
                <a16:creationId xmlns:a16="http://schemas.microsoft.com/office/drawing/2014/main" id="{4374B5AE-74DD-4204-8F39-68E496F64CD7}"/>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ED6B0EA6-2383-488B-A9B5-89A72C3B3326}"/>
              </a:ext>
            </a:extLst>
          </p:cNvPr>
          <p:cNvSpPr/>
          <p:nvPr/>
        </p:nvSpPr>
        <p:spPr>
          <a:xfrm>
            <a:off x="266701" y="1958640"/>
            <a:ext cx="5067300" cy="178510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sis tolls for natural language process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ccess to part-of-speech tagging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parsing, identifying concept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actions </a:t>
            </a:r>
          </a:p>
        </p:txBody>
      </p:sp>
      <p:pic>
        <p:nvPicPr>
          <p:cNvPr id="10" name="Picture 9">
            <a:extLst>
              <a:ext uri="{FF2B5EF4-FFF2-40B4-BE49-F238E27FC236}">
                <a16:creationId xmlns:a16="http://schemas.microsoft.com/office/drawing/2014/main" id="{5D1FA54A-1101-489A-B258-3A66BCCB0151}"/>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15738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E113CF-904F-4B80-A92F-24FA4AB0CC7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a:t>Linguistic analysis</a:t>
            </a:r>
          </a:p>
        </p:txBody>
      </p:sp>
      <p:sp>
        <p:nvSpPr>
          <p:cNvPr id="11" name="Title 7"/>
          <p:cNvSpPr txBox="1">
            <a:spLocks/>
          </p:cNvSpPr>
          <p:nvPr/>
        </p:nvSpPr>
        <p:spPr>
          <a:xfrm>
            <a:off x="1511626" y="292406"/>
            <a:ext cx="10675623" cy="898835"/>
          </a:xfrm>
          <a:prstGeom prst="rect">
            <a:avLst/>
          </a:prstGeom>
        </p:spPr>
        <p:txBody>
          <a:bodyPr vert="horz" wrap="square" lIns="143316" tIns="89573" rIns="143316" bIns="8957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993"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grpSp>
        <p:nvGrpSpPr>
          <p:cNvPr id="3" name="Group 2">
            <a:extLst>
              <a:ext uri="{FF2B5EF4-FFF2-40B4-BE49-F238E27FC236}">
                <a16:creationId xmlns:a16="http://schemas.microsoft.com/office/drawing/2014/main" id="{2F1EAC90-788C-4968-9189-9F4B1BDE3822}"/>
              </a:ext>
            </a:extLst>
          </p:cNvPr>
          <p:cNvGrpSpPr/>
          <p:nvPr/>
        </p:nvGrpSpPr>
        <p:grpSpPr>
          <a:xfrm>
            <a:off x="5745397" y="1362576"/>
            <a:ext cx="6441851" cy="5299482"/>
            <a:chOff x="6379415" y="1314842"/>
            <a:chExt cx="6901319" cy="5677471"/>
          </a:xfrm>
        </p:grpSpPr>
        <p:pic>
          <p:nvPicPr>
            <p:cNvPr id="13" name="Picture 12"/>
            <p:cNvPicPr>
              <a:picLocks noChangeAspect="1"/>
            </p:cNvPicPr>
            <p:nvPr/>
          </p:nvPicPr>
          <p:blipFill rotWithShape="1">
            <a:blip r:embed="rId3"/>
            <a:srcRect b="87807"/>
            <a:stretch/>
          </p:blipFill>
          <p:spPr>
            <a:xfrm>
              <a:off x="6379415" y="1314842"/>
              <a:ext cx="6901319" cy="660031"/>
            </a:xfrm>
            <a:prstGeom prst="rect">
              <a:avLst/>
            </a:prstGeom>
          </p:spPr>
        </p:pic>
        <p:pic>
          <p:nvPicPr>
            <p:cNvPr id="47" name="Picture 46"/>
            <p:cNvPicPr>
              <a:picLocks noChangeAspect="1"/>
            </p:cNvPicPr>
            <p:nvPr/>
          </p:nvPicPr>
          <p:blipFill rotWithShape="1">
            <a:blip r:embed="rId3"/>
            <a:srcRect t="12226" b="-5005"/>
            <a:stretch/>
          </p:blipFill>
          <p:spPr>
            <a:xfrm>
              <a:off x="6379415" y="1969818"/>
              <a:ext cx="6901319" cy="5022495"/>
            </a:xfrm>
            <a:prstGeom prst="rect">
              <a:avLst/>
            </a:prstGeom>
            <a:solidFill>
              <a:schemeClr val="bg1"/>
            </a:solidFill>
          </p:spPr>
        </p:pic>
      </p:grpSp>
      <p:sp>
        <p:nvSpPr>
          <p:cNvPr id="10" name="Oval 9">
            <a:extLst>
              <a:ext uri="{FF2B5EF4-FFF2-40B4-BE49-F238E27FC236}">
                <a16:creationId xmlns:a16="http://schemas.microsoft.com/office/drawing/2014/main" id="{0E28F94A-0482-4DBB-8842-6AE616AAA57F}"/>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3A6CC2F-16D9-4060-BAE0-5241DB75CB9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5833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5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nodePh="1">
                                  <p:stCondLst>
                                    <p:cond delay="250"/>
                                  </p:stCondLst>
                                  <p:endCondLst>
                                    <p:cond evt="begin" delay="0">
                                      <p:tn val="8"/>
                                    </p:cond>
                                  </p:endCondLst>
                                  <p:childTnLst>
                                    <p:animMotion origin="layout" path="M 0.01519 0.00045 L -1.976E-6 2.46482E-6 " pathEditMode="relative" rAng="0" ptsTypes="AA">
                                      <p:cBhvr>
                                        <p:cTn id="9" dur="500" fill="hold"/>
                                        <p:tgtEl>
                                          <p:spTgt spid="11"/>
                                        </p:tgtEl>
                                        <p:attrNameLst>
                                          <p:attrName>ppt_x</p:attrName>
                                          <p:attrName>ppt_y</p:attrName>
                                        </p:attrNameLst>
                                      </p:cBhvr>
                                      <p:rCtr x="-766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866" y="3341353"/>
            <a:ext cx="12189648" cy="35151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31" y="1459"/>
            <a:ext cx="12188542" cy="3320992"/>
          </a:xfrm>
          <a:prstGeom prst="rect">
            <a:avLst/>
          </a:prstGeom>
        </p:spPr>
      </p:pic>
      <p:sp>
        <p:nvSpPr>
          <p:cNvPr id="34" name="Rectangle 33"/>
          <p:cNvSpPr/>
          <p:nvPr/>
        </p:nvSpPr>
        <p:spPr bwMode="auto">
          <a:xfrm>
            <a:off x="866" y="974"/>
            <a:ext cx="12206461" cy="3321476"/>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866" y="3313076"/>
            <a:ext cx="12189648"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9896458" y="3982258"/>
            <a:ext cx="1919696" cy="1807194"/>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bs</a:t>
            </a:r>
            <a:endParaRPr lang="en-US" sz="2000" b="1">
              <a:gradFill>
                <a:gsLst>
                  <a:gs pos="11628">
                    <a:srgbClr val="3F3F3F"/>
                  </a:gs>
                  <a:gs pos="54000">
                    <a:srgbClr val="3F3F3F"/>
                  </a:gs>
                </a:gsLst>
                <a:lin ang="5400000" scaled="0"/>
              </a:gradFill>
              <a:latin typeface="Segoe UI Semilight" panose="020B0402040204020203" pitchFamily="34" charset="0"/>
              <a:cs typeface="Segoe UI Semilight" panose="020B0402040204020203" pitchFamily="34" charset="0"/>
            </a:endParaRPr>
          </a:p>
          <a:p>
            <a:pPr algn="ctr" defTabSz="895698">
              <a:lnSpc>
                <a:spcPct val="90000"/>
              </a:lnSpc>
              <a:spcAft>
                <a:spcPts val="588"/>
              </a:spcAft>
              <a:defRPr/>
            </a:pP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21631" y="3982259"/>
            <a:ext cx="1919696" cy="1298665"/>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Knowledge</a:t>
            </a:r>
          </a:p>
          <a:p>
            <a:pPr algn="ctr" defTabSz="913963">
              <a:lnSpc>
                <a:spcPct val="90000"/>
              </a:lnSpc>
              <a:spcAft>
                <a:spcPts val="574"/>
              </a:spcAft>
              <a:defRPr/>
            </a:pPr>
            <a:r>
              <a:rPr lang="en-US" sz="1200"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Map complex information and data in order to solve specific tasks </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12239" y="2870511"/>
            <a:ext cx="1138482" cy="1142677"/>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34217" y="3982259"/>
            <a:ext cx="1919696" cy="1112767"/>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nguage</a:t>
            </a:r>
          </a:p>
          <a:p>
            <a:pPr algn="ctr" defTabSz="913963">
              <a:lnSpc>
                <a:spcPct val="90000"/>
              </a:lnSpc>
              <a:spcAft>
                <a:spcPts val="574"/>
              </a:spcAft>
              <a:defRPr/>
            </a:pP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Process text and </a:t>
            </a:r>
            <a:b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24825" y="2870508"/>
            <a:ext cx="1138482" cy="1142676"/>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009046" y="3982259"/>
            <a:ext cx="1919696" cy="1298665"/>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earch</a:t>
            </a:r>
          </a:p>
          <a:p>
            <a:pPr algn="ctr" defTabSz="913963">
              <a:lnSpc>
                <a:spcPct val="90000"/>
              </a:lnSpc>
              <a:spcAft>
                <a:spcPts val="574"/>
              </a:spcAft>
              <a:defRPr/>
            </a:pPr>
            <a:r>
              <a:rPr lang="en-US" sz="1200"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399653" y="2870509"/>
            <a:ext cx="1138482" cy="1142676"/>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0894" y="3982259"/>
            <a:ext cx="1919696" cy="1298665"/>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Vision</a:t>
            </a:r>
          </a:p>
          <a:p>
            <a:pPr algn="ctr" defTabSz="913963">
              <a:lnSpc>
                <a:spcPct val="90000"/>
              </a:lnSpc>
              <a:spcAft>
                <a:spcPts val="574"/>
              </a:spcAft>
              <a:defRPr/>
            </a:pPr>
            <a:r>
              <a:rPr lang="en-US" sz="1200"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1500" y="2870508"/>
            <a:ext cx="1138482" cy="1142676"/>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158308" y="3982258"/>
            <a:ext cx="2108191" cy="1298665"/>
          </a:xfrm>
          <a:prstGeom prst="rect">
            <a:avLst/>
          </a:prstGeom>
          <a:noFill/>
        </p:spPr>
        <p:txBody>
          <a:bodyPr wrap="square" lIns="179183" tIns="143347" rIns="89617" bIns="143347" rtlCol="0" anchor="t">
            <a:spAutoFit/>
          </a:bodyPr>
          <a:lstStyle/>
          <a:p>
            <a:pPr algn="ctr" defTabSz="895698">
              <a:lnSpc>
                <a:spcPct val="90000"/>
              </a:lnSpc>
              <a:spcAft>
                <a:spcPts val="588"/>
              </a:spcAft>
              <a:defRPr/>
            </a:pPr>
            <a:r>
              <a:rPr lang="en-US" sz="1800"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peech</a:t>
            </a:r>
          </a:p>
          <a:p>
            <a:pPr algn="ctr" defTabSz="913963">
              <a:lnSpc>
                <a:spcPct val="90000"/>
              </a:lnSpc>
              <a:spcAft>
                <a:spcPts val="574"/>
              </a:spcAft>
              <a:defRPr/>
            </a:pP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Hear and speak to your users by filtering noise, identifying speakers, </a:t>
            </a:r>
            <a:b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43254" y="2870508"/>
            <a:ext cx="1138299" cy="1142676"/>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284968" y="2883951"/>
            <a:ext cx="1142676" cy="1142676"/>
            <a:chOff x="10495195" y="2941204"/>
            <a:chExt cx="1165754" cy="1165754"/>
          </a:xfrm>
          <a:solidFill>
            <a:schemeClr val="bg1"/>
          </a:solidFill>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grp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chemeClr val="accent3"/>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914139">
                <a:defRPr/>
              </a:pPr>
              <a:endParaRPr lang="en-US">
                <a:solidFill>
                  <a:srgbClr val="3F3F3F"/>
                </a:solidFill>
                <a:latin typeface="Segoe UI"/>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a:xfrm>
            <a:off x="576699" y="448698"/>
            <a:ext cx="10801919" cy="1107996"/>
          </a:xfrm>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00"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8666" t="14350" r="18024" b="2488"/>
          <a:stretch/>
        </p:blipFill>
        <p:spPr>
          <a:xfrm flipH="1">
            <a:off x="5638800" y="2674"/>
            <a:ext cx="6595994" cy="6859676"/>
          </a:xfrm>
          <a:prstGeom prst="rect">
            <a:avLst/>
          </a:prstGeom>
        </p:spPr>
      </p:pic>
      <p:sp>
        <p:nvSpPr>
          <p:cNvPr id="9" name="Rectangle 8">
            <a:extLst>
              <a:ext uri="{FF2B5EF4-FFF2-40B4-BE49-F238E27FC236}">
                <a16:creationId xmlns:a16="http://schemas.microsoft.com/office/drawing/2014/main" id="{6C3607F6-674C-4586-B367-12C97179A227}"/>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22E7AD0-130F-4E7A-B026-9EB320BFCF70}"/>
              </a:ext>
            </a:extLst>
          </p:cNvPr>
          <p:cNvSpPr>
            <a:spLocks noGrp="1"/>
          </p:cNvSpPr>
          <p:nvPr>
            <p:ph type="title"/>
          </p:nvPr>
        </p:nvSpPr>
        <p:spPr/>
        <p:txBody>
          <a:bodyPr/>
          <a:lstStyle/>
          <a:p>
            <a:r>
              <a:rPr lang="en-US" spc="0">
                <a:ln>
                  <a:noFill/>
                </a:ln>
              </a:rPr>
              <a:t>Text analytics</a:t>
            </a:r>
            <a:endParaRPr lang="en-US"/>
          </a:p>
        </p:txBody>
      </p:sp>
      <p:sp>
        <p:nvSpPr>
          <p:cNvPr id="10" name="Rectangle 9">
            <a:extLst>
              <a:ext uri="{FF2B5EF4-FFF2-40B4-BE49-F238E27FC236}">
                <a16:creationId xmlns:a16="http://schemas.microsoft.com/office/drawing/2014/main" id="{7C93262D-2931-4950-87E2-EE12864CE3D8}"/>
              </a:ext>
            </a:extLst>
          </p:cNvPr>
          <p:cNvSpPr/>
          <p:nvPr/>
        </p:nvSpPr>
        <p:spPr>
          <a:xfrm>
            <a:off x="266701" y="1958640"/>
            <a:ext cx="5067300" cy="37559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ntiment analysis</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ositive or negative sentim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ey phrase extraction</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ext, and retrieve topic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anguage detection </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120 supported languages</a:t>
            </a:r>
          </a:p>
          <a:p>
            <a:pPr marL="0" marR="0" lvl="0" indent="0" algn="l" defTabSz="895838" rtl="0" eaLnBrk="1" fontAlgn="auto" latinLnBrk="0" hangingPunct="1">
              <a:lnSpc>
                <a:spcPct val="90000"/>
              </a:lnSpc>
              <a:spcBef>
                <a:spcPts val="2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26CA87F-797B-4CDE-9895-EB1110416522}"/>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06BEB6CE-D50E-4A37-BDD4-C6461C42A42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139" y="330386"/>
            <a:ext cx="799914" cy="799914"/>
          </a:xfrm>
          <a:prstGeom prst="rect">
            <a:avLst/>
          </a:prstGeom>
        </p:spPr>
      </p:pic>
    </p:spTree>
    <p:extLst>
      <p:ext uri="{BB962C8B-B14F-4D97-AF65-F5344CB8AC3E}">
        <p14:creationId xmlns:p14="http://schemas.microsoft.com/office/powerpoint/2010/main" val="33521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a:srcRect l="32010" t="23709" r="21632" b="4700"/>
          <a:stretch/>
        </p:blipFill>
        <p:spPr>
          <a:xfrm flipH="1">
            <a:off x="5638799" y="2674"/>
            <a:ext cx="6658058" cy="6853276"/>
          </a:xfrm>
          <a:prstGeom prst="rect">
            <a:avLst/>
          </a:prstGeom>
        </p:spPr>
      </p:pic>
      <p:sp>
        <p:nvSpPr>
          <p:cNvPr id="10" name="Rectangle 9">
            <a:extLst>
              <a:ext uri="{FF2B5EF4-FFF2-40B4-BE49-F238E27FC236}">
                <a16:creationId xmlns:a16="http://schemas.microsoft.com/office/drawing/2014/main" id="{E864297A-9075-4A56-A663-C8A394F73C3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Rectangle 11">
            <a:extLst>
              <a:ext uri="{FF2B5EF4-FFF2-40B4-BE49-F238E27FC236}">
                <a16:creationId xmlns:a16="http://schemas.microsoft.com/office/drawing/2014/main" id="{5DFFCE3B-258C-45AE-B753-7F0C1F989B2A}"/>
              </a:ext>
            </a:extLst>
          </p:cNvPr>
          <p:cNvSpPr/>
          <p:nvPr/>
        </p:nvSpPr>
        <p:spPr>
          <a:xfrm>
            <a:off x="266701" y="1958640"/>
            <a:ext cx="5067300" cy="27823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utomation of a variety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standard natural language processing tasks using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language modeling API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ord breaking, joint probability of natural language expressions, scoring, and predicting following words in a sequence</a:t>
            </a:r>
          </a:p>
        </p:txBody>
      </p:sp>
      <p:sp>
        <p:nvSpPr>
          <p:cNvPr id="13" name="Oval 12">
            <a:extLst>
              <a:ext uri="{FF2B5EF4-FFF2-40B4-BE49-F238E27FC236}">
                <a16:creationId xmlns:a16="http://schemas.microsoft.com/office/drawing/2014/main" id="{DD6ACF04-23D3-4158-BFA2-5994D911181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20B657D-FB99-4CB5-B3FF-13DF13361EF6}"/>
              </a:ext>
            </a:extLst>
          </p:cNvPr>
          <p:cNvSpPr>
            <a:spLocks noGrp="1"/>
          </p:cNvSpPr>
          <p:nvPr>
            <p:ph type="title"/>
          </p:nvPr>
        </p:nvSpPr>
        <p:spPr/>
        <p:txBody>
          <a:bodyPr/>
          <a:lstStyle/>
          <a:p>
            <a:r>
              <a:rPr lang="en-US" spc="0">
                <a:ln>
                  <a:noFill/>
                </a:ln>
              </a:rPr>
              <a:t>Web language </a:t>
            </a:r>
            <a:br>
              <a:rPr lang="en-US" spc="0">
                <a:ln>
                  <a:noFill/>
                </a:ln>
              </a:rPr>
            </a:br>
            <a:r>
              <a:rPr lang="en-US" spc="0">
                <a:ln>
                  <a:noFill/>
                </a:ln>
              </a:rPr>
              <a:t>model</a:t>
            </a:r>
            <a:endParaRPr lang="en-US"/>
          </a:p>
        </p:txBody>
      </p:sp>
      <p:pic>
        <p:nvPicPr>
          <p:cNvPr id="4" name="Picture 3">
            <a:extLst>
              <a:ext uri="{FF2B5EF4-FFF2-40B4-BE49-F238E27FC236}">
                <a16:creationId xmlns:a16="http://schemas.microsoft.com/office/drawing/2014/main" id="{91CA5E73-0515-4822-8D3F-8017D115FF4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38666" y="283968"/>
            <a:ext cx="865382" cy="865382"/>
          </a:xfrm>
          <a:prstGeom prst="rect">
            <a:avLst/>
          </a:prstGeom>
        </p:spPr>
      </p:pic>
    </p:spTree>
    <p:extLst>
      <p:ext uri="{BB962C8B-B14F-4D97-AF65-F5344CB8AC3E}">
        <p14:creationId xmlns:p14="http://schemas.microsoft.com/office/powerpoint/2010/main" val="239662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flipH="1">
            <a:off x="4753" y="2674"/>
            <a:ext cx="12182495" cy="687440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CAB31F-C7DB-4A21-949B-B16E78C349DF}"/>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0D82A225-3F02-4AAE-BEDD-2EBF365A1738}"/>
              </a:ext>
            </a:extLst>
          </p:cNvPr>
          <p:cNvSpPr/>
          <p:nvPr/>
        </p:nvSpPr>
        <p:spPr>
          <a:xfrm>
            <a:off x="266701" y="1958640"/>
            <a:ext cx="5067300" cy="291772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Text API</a:t>
            </a:r>
            <a:endPar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utomatically detect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easily power translation to and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rom 60 supported text langu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Speech API </a:t>
            </a:r>
            <a:endParaRPr kumimoji="0" lang="en-US" altLang="zh-CN" sz="32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asily translate real-time speech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versations in 9 support languages</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828129F7-0632-46FB-AEA9-E320F7FB67E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3" name="Title 2">
            <a:extLst>
              <a:ext uri="{FF2B5EF4-FFF2-40B4-BE49-F238E27FC236}">
                <a16:creationId xmlns:a16="http://schemas.microsoft.com/office/drawing/2014/main" id="{385C7F0A-E9B6-41AA-BE53-B59653F70359}"/>
              </a:ext>
            </a:extLst>
          </p:cNvPr>
          <p:cNvSpPr>
            <a:spLocks noGrp="1"/>
          </p:cNvSpPr>
          <p:nvPr>
            <p:ph type="title"/>
          </p:nvPr>
        </p:nvSpPr>
        <p:spPr/>
        <p:txBody>
          <a:bodyPr/>
          <a:lstStyle/>
          <a:p>
            <a:r>
              <a:rPr lang="en-US" spc="0">
                <a:ln>
                  <a:noFill/>
                </a:ln>
              </a:rPr>
              <a:t>Microsoft </a:t>
            </a:r>
            <a:br>
              <a:rPr lang="en-US" spc="0">
                <a:ln>
                  <a:noFill/>
                </a:ln>
              </a:rPr>
            </a:br>
            <a:r>
              <a:rPr lang="en-US" spc="0">
                <a:ln>
                  <a:noFill/>
                </a:ln>
              </a:rPr>
              <a:t>Translator</a:t>
            </a:r>
            <a:endParaRPr lang="en-US"/>
          </a:p>
        </p:txBody>
      </p:sp>
      <p:pic>
        <p:nvPicPr>
          <p:cNvPr id="4" name="Picture 3">
            <a:extLst>
              <a:ext uri="{FF2B5EF4-FFF2-40B4-BE49-F238E27FC236}">
                <a16:creationId xmlns:a16="http://schemas.microsoft.com/office/drawing/2014/main" id="{CFF18545-FFAF-4464-9448-D5992AFC6BB2}"/>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2429" y="343556"/>
            <a:ext cx="716894" cy="716894"/>
          </a:xfrm>
          <a:prstGeom prst="rect">
            <a:avLst/>
          </a:prstGeom>
        </p:spPr>
      </p:pic>
    </p:spTree>
    <p:extLst>
      <p:ext uri="{BB962C8B-B14F-4D97-AF65-F5344CB8AC3E}">
        <p14:creationId xmlns:p14="http://schemas.microsoft.com/office/powerpoint/2010/main" val="8664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D83B0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KNOWLEDGE</a:t>
            </a:r>
          </a:p>
        </p:txBody>
      </p:sp>
      <p:sp>
        <p:nvSpPr>
          <p:cNvPr id="7" name="Rectangle 6">
            <a:extLst>
              <a:ext uri="{FF2B5EF4-FFF2-40B4-BE49-F238E27FC236}">
                <a16:creationId xmlns:a16="http://schemas.microsoft.com/office/drawing/2014/main" id="{96A5F23B-69A9-43B2-B9E9-5E2240830E5E}"/>
              </a:ext>
            </a:extLst>
          </p:cNvPr>
          <p:cNvSpPr/>
          <p:nvPr/>
        </p:nvSpPr>
        <p:spPr>
          <a:xfrm>
            <a:off x="4732662"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8" name="Rectangle 7">
            <a:extLst>
              <a:ext uri="{FF2B5EF4-FFF2-40B4-BE49-F238E27FC236}">
                <a16:creationId xmlns:a16="http://schemas.microsoft.com/office/drawing/2014/main" id="{B84923A9-783B-42C3-9B3C-B631C320CB78}"/>
              </a:ext>
            </a:extLst>
          </p:cNvPr>
          <p:cNvSpPr/>
          <p:nvPr/>
        </p:nvSpPr>
        <p:spPr>
          <a:xfrm>
            <a:off x="4725922"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ademic Knowledge | Entity Linking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Knowledge Exploration | Recommendations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QnA</a:t>
            </a: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Maker | Custom Decision Service</a:t>
            </a:r>
          </a:p>
        </p:txBody>
      </p:sp>
      <p:pic>
        <p:nvPicPr>
          <p:cNvPr id="6" name="Picture 5">
            <a:extLst>
              <a:ext uri="{FF2B5EF4-FFF2-40B4-BE49-F238E27FC236}">
                <a16:creationId xmlns:a16="http://schemas.microsoft.com/office/drawing/2014/main" id="{63B19187-938F-4277-B713-A16FD9BFD0B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95262" y="2999665"/>
            <a:ext cx="669468" cy="674741"/>
          </a:xfrm>
          <a:prstGeom prst="rect">
            <a:avLst/>
          </a:prstGeom>
        </p:spPr>
      </p:pic>
    </p:spTree>
    <p:extLst>
      <p:ext uri="{BB962C8B-B14F-4D97-AF65-F5344CB8AC3E}">
        <p14:creationId xmlns:p14="http://schemas.microsoft.com/office/powerpoint/2010/main" val="384379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icrosoft.sharepoint.com/teams/BrandCentral/BundleImages/3240WIN13_Jonna_Nokia_03/PreviewImage.png">
            <a:extLst>
              <a:ext uri="{FF2B5EF4-FFF2-40B4-BE49-F238E27FC236}">
                <a16:creationId xmlns:a16="http://schemas.microsoft.com/office/drawing/2014/main" id="{45980AC2-F8BA-494A-B5FF-9263CB1E28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333" t="11954" r="7796" b="-412"/>
          <a:stretch/>
        </p:blipFill>
        <p:spPr bwMode="auto">
          <a:xfrm flipH="1">
            <a:off x="5638800" y="0"/>
            <a:ext cx="6553200" cy="690960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958640"/>
            <a:ext cx="4784269" cy="47459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rpre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nterprets a natural language user query string. Returns annotated interpretations which can enable rich search-box auto-completion experiences that anticipate what the user is typing</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valuates a query expression and returns academic knowledge entity results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err="1">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alchistogram</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alculates a histogram of the distribu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attribute values for the academic entities returned by a query expression, such 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he distribution of citations by year for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given author</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Academic </a:t>
            </a:r>
            <a:br>
              <a:rPr lang="en-US"/>
            </a:br>
            <a:r>
              <a:rPr lang="en-US"/>
              <a:t>knowledg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B59566E2-2BEF-462A-9CD6-E4D724AAB92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7976" y="396444"/>
            <a:ext cx="685800" cy="685800"/>
          </a:xfrm>
          <a:prstGeom prst="rect">
            <a:avLst/>
          </a:prstGeom>
        </p:spPr>
      </p:pic>
    </p:spTree>
    <p:extLst>
      <p:ext uri="{BB962C8B-B14F-4D97-AF65-F5344CB8AC3E}">
        <p14:creationId xmlns:p14="http://schemas.microsoft.com/office/powerpoint/2010/main" val="10012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D831653-5ACC-453C-8FD7-8D0A1A1B70EF}"/>
              </a:ext>
            </a:extLst>
          </p:cNvPr>
          <p:cNvPicPr>
            <a:picLocks noChangeAspect="1"/>
          </p:cNvPicPr>
          <p:nvPr/>
        </p:nvPicPr>
        <p:blipFill rotWithShape="1">
          <a:blip r:embed="rId3">
            <a:extLst>
              <a:ext uri="{28A0092B-C50C-407E-A947-70E740481C1C}">
                <a14:useLocalDpi xmlns:a14="http://schemas.microsoft.com/office/drawing/2010/main" val="0"/>
              </a:ext>
            </a:extLst>
          </a:blip>
          <a:srcRect l="30342" t="174" r="6017" b="2"/>
          <a:stretch/>
        </p:blipFill>
        <p:spPr>
          <a:xfrm>
            <a:off x="5638799" y="2674"/>
            <a:ext cx="6553199" cy="6852654"/>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4138"/>
            <a:ext cx="4784269" cy="360098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ower your app’s data links with named entity recognition and disambiguation</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word might be used as a named entity,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verb, or another word form within 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given sentenc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e Entity Linking Intelligence Service will recognize and identify each separate entity based on the context</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Entity linking</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8909C3AC-7091-4E82-91F7-841BC9AE48E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3419" y="383595"/>
            <a:ext cx="669020" cy="669020"/>
          </a:xfrm>
          <a:prstGeom prst="rect">
            <a:avLst/>
          </a:prstGeom>
        </p:spPr>
      </p:pic>
    </p:spTree>
    <p:extLst>
      <p:ext uri="{BB962C8B-B14F-4D97-AF65-F5344CB8AC3E}">
        <p14:creationId xmlns:p14="http://schemas.microsoft.com/office/powerpoint/2010/main" val="1701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AA2E2D8-7C4A-4F8A-A332-7CF92B37336B}"/>
              </a:ext>
            </a:extLst>
          </p:cNvPr>
          <p:cNvPicPr>
            <a:picLocks noChangeAspect="1"/>
          </p:cNvPicPr>
          <p:nvPr/>
        </p:nvPicPr>
        <p:blipFill rotWithShape="1">
          <a:blip r:embed="rId3">
            <a:extLst>
              <a:ext uri="{28A0092B-C50C-407E-A947-70E740481C1C}">
                <a14:useLocalDpi xmlns:a14="http://schemas.microsoft.com/office/drawing/2010/main" val="0"/>
              </a:ext>
            </a:extLst>
          </a:blip>
          <a:srcRect l="36298" r="367"/>
          <a:stretch/>
        </p:blipFill>
        <p:spPr>
          <a:xfrm>
            <a:off x="5638798" y="-21409"/>
            <a:ext cx="6553201" cy="6898060"/>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Knowledge </a:t>
            </a:r>
            <a:br>
              <a:rPr lang="en-US"/>
            </a:br>
            <a:r>
              <a:rPr lang="en-US"/>
              <a:t>exploration</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4D0A487-9C9A-4830-923A-001F7390A13A}"/>
              </a:ext>
            </a:extLst>
          </p:cNvPr>
          <p:cNvSpPr/>
          <p:nvPr/>
        </p:nvSpPr>
        <p:spPr>
          <a:xfrm>
            <a:off x="266701" y="2356188"/>
            <a:ext cx="5067300" cy="451713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ribute histograms</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enable rich visualiza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interactive faceted experienc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uctured query evaluation</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efficiently retrieve detailed information about matching objec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Query auto-completion</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reduce user effort and help with discovery of rich capabiliti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Natural language understanding</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interpret natural language queries into structured query expressions</a:t>
            </a:r>
          </a:p>
        </p:txBody>
      </p:sp>
      <p:sp>
        <p:nvSpPr>
          <p:cNvPr id="7" name="Rectangle 6">
            <a:extLst>
              <a:ext uri="{FF2B5EF4-FFF2-40B4-BE49-F238E27FC236}">
                <a16:creationId xmlns:a16="http://schemas.microsoft.com/office/drawing/2014/main" id="{9DA08983-CCDB-47FF-85DF-D005917E494F}"/>
              </a:ext>
            </a:extLst>
          </p:cNvPr>
          <p:cNvSpPr/>
          <p:nvPr/>
        </p:nvSpPr>
        <p:spPr>
          <a:xfrm>
            <a:off x="266700" y="1705096"/>
            <a:ext cx="5372097" cy="707886"/>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259138" algn="l"/>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Enable interactive search experiences over structured data via natural language inputs</a:t>
            </a:r>
          </a:p>
        </p:txBody>
      </p:sp>
      <p:pic>
        <p:nvPicPr>
          <p:cNvPr id="5" name="Picture 4">
            <a:extLst>
              <a:ext uri="{FF2B5EF4-FFF2-40B4-BE49-F238E27FC236}">
                <a16:creationId xmlns:a16="http://schemas.microsoft.com/office/drawing/2014/main" id="{165B0940-2DFB-49D2-9810-14C52DE93A9A}"/>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2181" y="369410"/>
            <a:ext cx="697390" cy="697390"/>
          </a:xfrm>
          <a:prstGeom prst="rect">
            <a:avLst/>
          </a:prstGeom>
        </p:spPr>
      </p:pic>
    </p:spTree>
    <p:extLst>
      <p:ext uri="{BB962C8B-B14F-4D97-AF65-F5344CB8AC3E}">
        <p14:creationId xmlns:p14="http://schemas.microsoft.com/office/powerpoint/2010/main" val="207789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7E447C-A545-4D3C-A7A5-2EC8E8DF5102}"/>
              </a:ext>
            </a:extLst>
          </p:cNvPr>
          <p:cNvPicPr>
            <a:picLocks noChangeAspect="1"/>
          </p:cNvPicPr>
          <p:nvPr/>
        </p:nvPicPr>
        <p:blipFill rotWithShape="1">
          <a:blip r:embed="rId3">
            <a:extLst>
              <a:ext uri="{28A0092B-C50C-407E-A947-70E740481C1C}">
                <a14:useLocalDpi xmlns:a14="http://schemas.microsoft.com/office/drawing/2010/main" val="0"/>
              </a:ext>
            </a:extLst>
          </a:blip>
          <a:srcRect l="7890" t="11365" r="35564" b="-241"/>
          <a:stretch/>
        </p:blipFill>
        <p:spPr>
          <a:xfrm>
            <a:off x="5638800" y="2674"/>
            <a:ext cx="6553756" cy="6873977"/>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784269" cy="3250121"/>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crease catalog discovery</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 customers easily discover items that they may be interested i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ersonalize your experience</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how suggestions that are targeted to each specific use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crease the bottom line</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crease your conversion rate by offering the right products at the right time</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Recommendations</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F52E6A5A-C310-4D5B-9DC6-CF0D4A11775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4588" y="321817"/>
            <a:ext cx="792576" cy="792576"/>
          </a:xfrm>
          <a:prstGeom prst="rect">
            <a:avLst/>
          </a:prstGeom>
        </p:spPr>
      </p:pic>
    </p:spTree>
    <p:extLst>
      <p:ext uri="{BB962C8B-B14F-4D97-AF65-F5344CB8AC3E}">
        <p14:creationId xmlns:p14="http://schemas.microsoft.com/office/powerpoint/2010/main" val="281251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40">
            <a:extLst>
              <a:ext uri="{FF2B5EF4-FFF2-40B4-BE49-F238E27FC236}">
                <a16:creationId xmlns:a16="http://schemas.microsoft.com/office/drawing/2014/main" id="{9DC3327A-C79D-41A5-B375-A85943EC0956}"/>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943" b="943"/>
          <a:stretch/>
        </p:blipFill>
        <p:spPr>
          <a:xfrm flipH="1">
            <a:off x="6095999" y="0"/>
            <a:ext cx="6095999" cy="6858000"/>
          </a:xfrm>
          <a:prstGeom prst="rect">
            <a:avLst/>
          </a:prstGeom>
        </p:spPr>
      </p:pic>
      <p:grpSp>
        <p:nvGrpSpPr>
          <p:cNvPr id="5" name="Group 4">
            <a:extLst>
              <a:ext uri="{FF2B5EF4-FFF2-40B4-BE49-F238E27FC236}">
                <a16:creationId xmlns:a16="http://schemas.microsoft.com/office/drawing/2014/main" id="{5E793AA2-03EA-4040-B030-E6441F560986}"/>
              </a:ext>
            </a:extLst>
          </p:cNvPr>
          <p:cNvGrpSpPr/>
          <p:nvPr/>
        </p:nvGrpSpPr>
        <p:grpSpPr>
          <a:xfrm>
            <a:off x="0" y="1600200"/>
            <a:ext cx="6096000" cy="4281785"/>
            <a:chOff x="0" y="1600200"/>
            <a:chExt cx="6096000" cy="4281785"/>
          </a:xfrm>
        </p:grpSpPr>
        <p:sp>
          <p:nvSpPr>
            <p:cNvPr id="14" name="Rectangle 13"/>
            <p:cNvSpPr/>
            <p:nvPr/>
          </p:nvSpPr>
          <p:spPr bwMode="auto">
            <a:xfrm>
              <a:off x="0" y="1600200"/>
              <a:ext cx="6096000" cy="4281785"/>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y leveraging Cortana Intelligence </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mmendations capabilities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combined with Azure Machine Learning processing power, we have enabled retailers with a personalized commerce experience, allowing them to grow shopper engagement and conversions across all channels.”</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rank Kouretas, Chief Product Officer, </a:t>
              </a: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Orckestra</a:t>
              </a:r>
              <a:endPar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86D6BF14-8F5D-4C3D-B1BE-7475F7E74740}"/>
                </a:ext>
              </a:extLst>
            </p:cNvPr>
            <p:cNvSpPr/>
            <p:nvPr/>
          </p:nvSpPr>
          <p:spPr>
            <a:xfrm>
              <a:off x="444500" y="5204772"/>
              <a:ext cx="1818314"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8222">
                        <a:srgbClr val="0078D7">
                          <a:lumMod val="75000"/>
                        </a:srgbClr>
                      </a:gs>
                      <a:gs pos="89091">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Recommendations API</a:t>
              </a:r>
            </a:p>
          </p:txBody>
        </p:sp>
      </p:grpSp>
      <p:pic>
        <p:nvPicPr>
          <p:cNvPr id="2" name="Graphic 1">
            <a:extLst>
              <a:ext uri="{FF2B5EF4-FFF2-40B4-BE49-F238E27FC236}">
                <a16:creationId xmlns:a16="http://schemas.microsoft.com/office/drawing/2014/main" id="{15470C2A-C6B5-4888-A66E-C316809B1A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5468" y="419090"/>
            <a:ext cx="2039596" cy="763358"/>
          </a:xfrm>
          <a:prstGeom prst="rect">
            <a:avLst/>
          </a:prstGeom>
        </p:spPr>
      </p:pic>
    </p:spTree>
    <p:extLst>
      <p:ext uri="{BB962C8B-B14F-4D97-AF65-F5344CB8AC3E}">
        <p14:creationId xmlns:p14="http://schemas.microsoft.com/office/powerpoint/2010/main" val="187382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67E1B8-5381-4F37-8AD5-E4AF1C90CD3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079" b="19932"/>
          <a:stretch/>
        </p:blipFill>
        <p:spPr>
          <a:xfrm>
            <a:off x="6096000" y="974"/>
            <a:ext cx="6096000" cy="6857026"/>
          </a:xfrm>
          <a:prstGeom prst="rect">
            <a:avLst/>
          </a:prstGeom>
        </p:spPr>
      </p:pic>
      <p:grpSp>
        <p:nvGrpSpPr>
          <p:cNvPr id="5" name="Group 4">
            <a:extLst>
              <a:ext uri="{FF2B5EF4-FFF2-40B4-BE49-F238E27FC236}">
                <a16:creationId xmlns:a16="http://schemas.microsoft.com/office/drawing/2014/main" id="{5E793AA2-03EA-4040-B030-E6441F560986}"/>
              </a:ext>
            </a:extLst>
          </p:cNvPr>
          <p:cNvGrpSpPr/>
          <p:nvPr/>
        </p:nvGrpSpPr>
        <p:grpSpPr>
          <a:xfrm>
            <a:off x="0" y="1600200"/>
            <a:ext cx="6096000" cy="4281785"/>
            <a:chOff x="0" y="1600200"/>
            <a:chExt cx="6096000" cy="4281785"/>
          </a:xfrm>
        </p:grpSpPr>
        <p:sp>
          <p:nvSpPr>
            <p:cNvPr id="14" name="Rectangle 13"/>
            <p:cNvSpPr/>
            <p:nvPr/>
          </p:nvSpPr>
          <p:spPr bwMode="auto">
            <a:xfrm>
              <a:off x="0" y="1600200"/>
              <a:ext cx="6096000" cy="4281785"/>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36576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0"/>
                </a:spcAft>
                <a:buClrTx/>
                <a:buSzTx/>
                <a:buFontTx/>
                <a:buNone/>
                <a:tabLst/>
                <a:defRPr/>
              </a:pP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e Recommendations API allows Allrecipes.com to harness billions of user-shared experiences to deliver highly personalized recipe solutions that answer busy families most pressing question, ‘What’s for dinner tonight?’ </a:t>
              </a:r>
            </a:p>
            <a:p>
              <a:pPr marL="115888" marR="0" lvl="0" indent="-1588" algn="l" defTabSz="914314" rtl="0" eaLnBrk="1" fontAlgn="auto" latinLnBrk="0" hangingPunct="1">
                <a:lnSpc>
                  <a:spcPct val="90000"/>
                </a:lnSpc>
                <a:spcBef>
                  <a:spcPts val="1200"/>
                </a:spcBef>
                <a:spcAft>
                  <a:spcPts val="1765"/>
                </a:spcAft>
                <a:buClrTx/>
                <a:buSzTx/>
                <a:buFontTx/>
                <a:buNone/>
                <a:tabLst/>
                <a:defRPr/>
              </a:pP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We are able to do this with minimal investment due to the proven capabilities of the Cortana Analytics platform. This helps us further realize </a:t>
              </a:r>
              <a:b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our vision of providing highly personalized cooking inspiration for home cooks.”</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ohn Keane, CTO, Allrecipes.com </a:t>
              </a:r>
            </a:p>
          </p:txBody>
        </p:sp>
        <p:sp>
          <p:nvSpPr>
            <p:cNvPr id="16" name="Rectangle 15">
              <a:extLst>
                <a:ext uri="{FF2B5EF4-FFF2-40B4-BE49-F238E27FC236}">
                  <a16:creationId xmlns:a16="http://schemas.microsoft.com/office/drawing/2014/main" id="{86D6BF14-8F5D-4C3D-B1BE-7475F7E74740}"/>
                </a:ext>
              </a:extLst>
            </p:cNvPr>
            <p:cNvSpPr/>
            <p:nvPr/>
          </p:nvSpPr>
          <p:spPr>
            <a:xfrm>
              <a:off x="444500" y="5268104"/>
              <a:ext cx="1818314"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6444">
                        <a:srgbClr val="0078D7">
                          <a:lumMod val="75000"/>
                        </a:srgbClr>
                      </a:gs>
                      <a:gs pos="89091">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Recommendations API</a:t>
              </a:r>
            </a:p>
          </p:txBody>
        </p:sp>
      </p:grpSp>
      <p:pic>
        <p:nvPicPr>
          <p:cNvPr id="8" name="Picture 2" descr="http://depts.washington.edu/leaders1/wordpress/wp-content/uploads/2013/02/allrecipes.com_.png">
            <a:extLst>
              <a:ext uri="{FF2B5EF4-FFF2-40B4-BE49-F238E27FC236}">
                <a16:creationId xmlns:a16="http://schemas.microsoft.com/office/drawing/2014/main" id="{3D7FEAA1-EC01-40F2-8151-139F387182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3701" y="331764"/>
            <a:ext cx="2279650" cy="842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82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31" y="1459"/>
            <a:ext cx="12188542" cy="3320992"/>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405295" y="1152428"/>
            <a:ext cx="1142676" cy="1142676"/>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866" y="974"/>
            <a:ext cx="12206461" cy="3321476"/>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1488" y="1916462"/>
            <a:ext cx="12189648" cy="49410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2321" y="1098189"/>
            <a:ext cx="1138320" cy="1142514"/>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1770" y="2011225"/>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35310"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35310"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35310"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35310" y="397624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35310"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35310" y="434018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solidFill>
                  <a:srgbClr val="FF0000"/>
                </a:solidFill>
                <a:latin typeface="Segoe UI"/>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560383" y="1098188"/>
            <a:ext cx="1138320" cy="1142514"/>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169831" y="2011224"/>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233372"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23337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23337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233372"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458444" y="1098190"/>
            <a:ext cx="1138320" cy="1142514"/>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067892" y="2011225"/>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131433"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131433" y="3248377"/>
            <a:ext cx="1792342" cy="1818456"/>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91427" rIns="89617" bIns="44802" numCol="1" spcCol="0" rtlCol="0" fromWordArt="0" anchor="t"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131433"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131433" y="511303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11445" y="1098189"/>
            <a:ext cx="1138138" cy="1142514"/>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20801" y="2011225"/>
            <a:ext cx="1919424" cy="571926"/>
          </a:xfrm>
          <a:prstGeom prst="rect">
            <a:avLst/>
          </a:prstGeom>
          <a:noFill/>
        </p:spPr>
        <p:txBody>
          <a:bodyPr wrap="square" lIns="179158" tIns="143327" rIns="89604"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28434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28434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766705" y="1441066"/>
            <a:ext cx="419856" cy="483640"/>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3963">
              <a:defRPr/>
            </a:pPr>
            <a:endParaRPr lang="en-US">
              <a:solidFill>
                <a:srgbClr val="3F3F3F"/>
              </a:solidFill>
              <a:latin typeface="Segoe UI"/>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016921" y="2022724"/>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400"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080462"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080462"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080462" y="397624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Knowledge </a:t>
            </a:r>
            <a:br>
              <a:rPr lang="en-US" sz="1050" b="1" kern="0">
                <a:gradFill>
                  <a:gsLst>
                    <a:gs pos="1250">
                      <a:srgbClr val="1A1A1A"/>
                    </a:gs>
                    <a:gs pos="100000">
                      <a:srgbClr val="1A1A1A"/>
                    </a:gs>
                  </a:gsLst>
                  <a:lin ang="5400000" scaled="0"/>
                </a:gradFill>
                <a:latin typeface="Segoe UI"/>
              </a:rPr>
            </a:br>
            <a:r>
              <a:rPr lang="en-US" sz="1050" b="1" kern="0">
                <a:gradFill>
                  <a:gsLst>
                    <a:gs pos="1250">
                      <a:srgbClr val="1A1A1A"/>
                    </a:gs>
                    <a:gs pos="100000">
                      <a:srgbClr val="1A1A1A"/>
                    </a:gs>
                  </a:gsLst>
                  <a:lin ang="5400000" scaled="0"/>
                </a:gradFill>
                <a:latin typeface="Segoe UI"/>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08046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08046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080462" y="434018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131433" y="54852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131433" y="585737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solidFill>
                  <a:srgbClr val="FF0000"/>
                </a:solidFill>
                <a:latin typeface="Segoe UI"/>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284342" y="3979891"/>
            <a:ext cx="1792342" cy="149234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91427" rIns="89617" bIns="44802" numCol="1" spcCol="0" rtlCol="0" fromWordArt="0" anchor="t"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Unified Speech</a:t>
            </a:r>
          </a:p>
          <a:p>
            <a:pPr algn="ctr" defTabSz="860568">
              <a:lnSpc>
                <a:spcPct val="90000"/>
              </a:lnSpc>
              <a:defRPr/>
            </a:pPr>
            <a:endParaRPr lang="en-US" sz="1050" i="1" kern="0" dirty="0">
              <a:gradFill>
                <a:gsLst>
                  <a:gs pos="1250">
                    <a:srgbClr val="1A1A1A"/>
                  </a:gs>
                  <a:gs pos="100000">
                    <a:srgbClr val="1A1A1A"/>
                  </a:gs>
                </a:gsLst>
                <a:lin ang="5400000" scaled="0"/>
              </a:gradFill>
              <a:latin typeface="Segoe UI"/>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080462" y="470411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080462" y="506805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080462" y="5431990"/>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080462" y="5795925"/>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080462" y="615986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09413" y="1098191"/>
            <a:ext cx="1138320" cy="1142515"/>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118861" y="2011224"/>
            <a:ext cx="1919424" cy="571926"/>
          </a:xfrm>
          <a:prstGeom prst="rect">
            <a:avLst/>
          </a:prstGeom>
          <a:noFill/>
        </p:spPr>
        <p:txBody>
          <a:bodyPr wrap="square" lIns="179158" tIns="143327" rIns="179158" bIns="14332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895526">
              <a:spcAft>
                <a:spcPts val="588"/>
              </a:spcAft>
              <a:defRPr/>
            </a:pPr>
            <a:r>
              <a:rPr lang="en-US" dirty="0"/>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18240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dirty="0">
                <a:gradFill>
                  <a:gsLst>
                    <a:gs pos="1250">
                      <a:srgbClr val="1A1A1A"/>
                    </a:gs>
                    <a:gs pos="100000">
                      <a:srgbClr val="1A1A1A"/>
                    </a:gs>
                  </a:gsLst>
                </a:gradFill>
                <a:latin typeface="Segoe UI"/>
              </a:rPr>
              <a:t>Azure Search</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18240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dirty="0" err="1">
                <a:gradFill>
                  <a:gsLst>
                    <a:gs pos="1250">
                      <a:srgbClr val="1A1A1A"/>
                    </a:gs>
                    <a:gs pos="100000">
                      <a:srgbClr val="1A1A1A"/>
                    </a:gs>
                  </a:gsLst>
                </a:gradFill>
                <a:latin typeface="Segoe UI"/>
              </a:rPr>
              <a:t>QnA</a:t>
            </a:r>
            <a:r>
              <a:rPr lang="en-US" sz="1050" b="1" kern="0" dirty="0">
                <a:gradFill>
                  <a:gsLst>
                    <a:gs pos="1250">
                      <a:srgbClr val="1A1A1A"/>
                    </a:gs>
                    <a:gs pos="100000">
                      <a:srgbClr val="1A1A1A"/>
                    </a:gs>
                  </a:gsLst>
                </a:gradFill>
                <a:latin typeface="Segoe UI"/>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a:xfrm>
            <a:off x="586740" y="132522"/>
            <a:ext cx="11018520" cy="751997"/>
          </a:xfrm>
        </p:spPr>
        <p:txBody>
          <a:bodyPr/>
          <a:lstStyle/>
          <a:p>
            <a:r>
              <a:rPr lang="en-US" altLang="en-US" dirty="0">
                <a:gradFill>
                  <a:gsLst>
                    <a:gs pos="1250">
                      <a:schemeClr val="bg1"/>
                    </a:gs>
                    <a:gs pos="100000">
                      <a:schemeClr val="bg1"/>
                    </a:gs>
                  </a:gsLst>
                  <a:lin ang="5400000" scaled="0"/>
                </a:gradFill>
              </a:rPr>
              <a:t>Microsoft Cognitive Services</a:t>
            </a:r>
            <a:endParaRPr lang="en-US" dirty="0">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284341"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0" scaled="0"/>
                </a:gradFill>
                <a:latin typeface="Segoe UI"/>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284341"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0" scaled="0"/>
                </a:gradFill>
                <a:latin typeface="Segoe UI"/>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50730" y="4304941"/>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Speech to Text</a:t>
            </a:r>
            <a:br>
              <a:rPr lang="en-US" sz="1050" kern="0" dirty="0">
                <a:gradFill>
                  <a:gsLst>
                    <a:gs pos="1250">
                      <a:srgbClr val="1A1A1A"/>
                    </a:gs>
                    <a:gs pos="100000">
                      <a:srgbClr val="1A1A1A"/>
                    </a:gs>
                  </a:gsLst>
                  <a:lin ang="5400000" scaled="0"/>
                </a:gradFill>
                <a:latin typeface="Segoe UI"/>
              </a:rPr>
            </a:br>
            <a:r>
              <a:rPr lang="en-US" sz="800" kern="0" dirty="0">
                <a:gradFill>
                  <a:gsLst>
                    <a:gs pos="1250">
                      <a:srgbClr val="1A1A1A"/>
                    </a:gs>
                    <a:gs pos="100000">
                      <a:srgbClr val="1A1A1A"/>
                    </a:gs>
                  </a:gsLst>
                  <a:lin ang="5400000" scaled="0"/>
                </a:gradFill>
                <a:latin typeface="Segoe UI"/>
              </a:rPr>
              <a:t>w. </a:t>
            </a:r>
            <a:r>
              <a:rPr lang="en-US" sz="800" kern="0" dirty="0">
                <a:solidFill>
                  <a:srgbClr val="FF0000"/>
                </a:solidFill>
                <a:latin typeface="Segoe UI"/>
              </a:rPr>
              <a:t>Custom Speech</a:t>
            </a:r>
            <a:endParaRPr lang="en-US" sz="400" i="1" kern="0" dirty="0">
              <a:solidFill>
                <a:srgbClr val="FF0000"/>
              </a:solidFill>
              <a:latin typeface="Segoe UI"/>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50730" y="4660178"/>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Text to Speech</a:t>
            </a:r>
            <a:br>
              <a:rPr lang="en-US" sz="1050" kern="0" dirty="0">
                <a:gradFill>
                  <a:gsLst>
                    <a:gs pos="1250">
                      <a:srgbClr val="1A1A1A"/>
                    </a:gs>
                    <a:gs pos="100000">
                      <a:srgbClr val="1A1A1A"/>
                    </a:gs>
                  </a:gsLst>
                  <a:lin ang="5400000" scaled="0"/>
                </a:gradFill>
                <a:latin typeface="Segoe UI"/>
              </a:rPr>
            </a:br>
            <a:r>
              <a:rPr lang="en-US" sz="800" kern="0" dirty="0">
                <a:gradFill>
                  <a:gsLst>
                    <a:gs pos="1250">
                      <a:srgbClr val="1A1A1A"/>
                    </a:gs>
                    <a:gs pos="100000">
                      <a:srgbClr val="1A1A1A"/>
                    </a:gs>
                  </a:gsLst>
                  <a:lin ang="5400000" scaled="0"/>
                </a:gradFill>
                <a:latin typeface="Segoe UI"/>
              </a:rPr>
              <a:t>w. </a:t>
            </a:r>
            <a:r>
              <a:rPr lang="en-US" sz="800" kern="0" dirty="0">
                <a:solidFill>
                  <a:srgbClr val="FF0000"/>
                </a:solidFill>
                <a:latin typeface="Segoe UI"/>
              </a:rPr>
              <a:t>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50730" y="5015415"/>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Speech Translation</a:t>
            </a:r>
            <a:br>
              <a:rPr lang="en-US" sz="1050" kern="0" dirty="0">
                <a:gradFill>
                  <a:gsLst>
                    <a:gs pos="1250">
                      <a:srgbClr val="1A1A1A"/>
                    </a:gs>
                    <a:gs pos="100000">
                      <a:srgbClr val="1A1A1A"/>
                    </a:gs>
                  </a:gsLst>
                  <a:lin ang="5400000" scaled="0"/>
                </a:gradFill>
                <a:latin typeface="Segoe UI"/>
              </a:rPr>
            </a:br>
            <a:r>
              <a:rPr lang="en-US" sz="800" kern="0" dirty="0">
                <a:gradFill>
                  <a:gsLst>
                    <a:gs pos="1250">
                      <a:srgbClr val="1A1A1A"/>
                    </a:gs>
                    <a:gs pos="100000">
                      <a:srgbClr val="1A1A1A"/>
                    </a:gs>
                  </a:gsLst>
                  <a:lin ang="5400000" scaled="0"/>
                </a:gradFill>
                <a:latin typeface="Segoe UI"/>
              </a:rPr>
              <a:t>w. </a:t>
            </a:r>
            <a:r>
              <a:rPr lang="en-US" sz="800" kern="0" dirty="0">
                <a:solidFill>
                  <a:srgbClr val="FF0000"/>
                </a:solidFill>
                <a:latin typeface="Segoe UI"/>
              </a:rPr>
              <a:t>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303945" y="3569756"/>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303945" y="3927122"/>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303945" y="4284488"/>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303945" y="4641854"/>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Video Search</a:t>
            </a:r>
            <a:endParaRPr lang="en-US" sz="1100" kern="0" dirty="0">
              <a:gradFill>
                <a:gsLst>
                  <a:gs pos="1250">
                    <a:srgbClr val="1A1A1A"/>
                  </a:gs>
                  <a:gs pos="100000">
                    <a:srgbClr val="1A1A1A"/>
                  </a:gs>
                </a:gsLst>
                <a:lin ang="5400000" scaled="0"/>
              </a:gradFill>
              <a:latin typeface="Segoe UI"/>
            </a:endParaRPr>
          </a:p>
        </p:txBody>
      </p:sp>
      <p:sp>
        <p:nvSpPr>
          <p:cNvPr id="65" name="Rectangle 64">
            <a:extLst>
              <a:ext uri="{FF2B5EF4-FFF2-40B4-BE49-F238E27FC236}">
                <a16:creationId xmlns:a16="http://schemas.microsoft.com/office/drawing/2014/main" id="{62A5EC76-7BEA-E54D-8632-AFA3FD934D49}"/>
              </a:ext>
            </a:extLst>
          </p:cNvPr>
          <p:cNvSpPr/>
          <p:nvPr/>
        </p:nvSpPr>
        <p:spPr bwMode="auto">
          <a:xfrm>
            <a:off x="4233370" y="399570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solidFill>
                  <a:srgbClr val="FF0000"/>
                </a:solidFill>
                <a:latin typeface="Segoe UI"/>
              </a:rPr>
              <a:t>Custom Vision</a:t>
            </a: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0 -1.36178E-8 L 0.04672 -1.36178E-8 " pathEditMode="relative" rAng="0" ptsTypes="AA">
                                      <p:cBhvr>
                                        <p:cTn id="9" dur="750" spd="-100000" fill="hold"/>
                                        <p:tgtEl>
                                          <p:spTgt spid="3"/>
                                        </p:tgtEl>
                                        <p:attrNameLst>
                                          <p:attrName>ppt_x</p:attrName>
                                          <p:attrName>ppt_y</p:attrName>
                                        </p:attrNameLst>
                                      </p:cBhvr>
                                      <p:rCtr x="23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A6F219A-4EC4-4242-AB00-A261E2A418CA}"/>
              </a:ext>
            </a:extLst>
          </p:cNvPr>
          <p:cNvPicPr>
            <a:picLocks noChangeAspect="1"/>
          </p:cNvPicPr>
          <p:nvPr/>
        </p:nvPicPr>
        <p:blipFill rotWithShape="1">
          <a:blip r:embed="rId3"/>
          <a:srcRect l="32184" t="2764" r="4930"/>
          <a:stretch/>
        </p:blipFill>
        <p:spPr>
          <a:xfrm>
            <a:off x="5638800" y="0"/>
            <a:ext cx="6600646"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851399" cy="45797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tract questions and answer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all possible pairs of questions and answers from user provided content – FAQ URLs, documents and editorial content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st, train and publish</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dit, remove, or add pair before testing and training the knowledge base and publishing your knowledge base as an API endpoi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grates with other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Is and solutions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altLang="zh-CN" sz="18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QnA</a:t>
            </a: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Maker with Cognitive Services such as LUIS &amp; create something as elegantly simple as a chat bot that answers FAQs, or as complex as an interactive virtual guide</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err="1"/>
              <a:t>QnA</a:t>
            </a:r>
            <a:r>
              <a:rPr lang="en-US"/>
              <a:t> Make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A9FE983C-C639-4D63-B326-076AC27C9C11}"/>
              </a:ext>
            </a:extLst>
          </p:cNvPr>
          <p:cNvSpPr/>
          <p:nvPr/>
        </p:nvSpPr>
        <p:spPr>
          <a:xfrm>
            <a:off x="266701" y="1043440"/>
            <a:ext cx="5045714" cy="400110"/>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Create a FAQ service from existing content </a:t>
            </a:r>
          </a:p>
        </p:txBody>
      </p:sp>
      <p:pic>
        <p:nvPicPr>
          <p:cNvPr id="6" name="Picture 5">
            <a:extLst>
              <a:ext uri="{FF2B5EF4-FFF2-40B4-BE49-F238E27FC236}">
                <a16:creationId xmlns:a16="http://schemas.microsoft.com/office/drawing/2014/main" id="{A71F8350-D7F2-4505-8048-BF5A3D9CAED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675" y="413614"/>
            <a:ext cx="660400" cy="660400"/>
          </a:xfrm>
          <a:prstGeom prst="rect">
            <a:avLst/>
          </a:prstGeom>
        </p:spPr>
      </p:pic>
    </p:spTree>
    <p:extLst>
      <p:ext uri="{BB962C8B-B14F-4D97-AF65-F5344CB8AC3E}">
        <p14:creationId xmlns:p14="http://schemas.microsoft.com/office/powerpoint/2010/main" val="385869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42702-45FE-45C9-A083-306D07C90706}"/>
              </a:ext>
            </a:extLst>
          </p:cNvPr>
          <p:cNvPicPr>
            <a:picLocks noChangeAspect="1"/>
          </p:cNvPicPr>
          <p:nvPr/>
        </p:nvPicPr>
        <p:blipFill rotWithShape="1">
          <a:blip r:embed="rId3"/>
          <a:srcRect l="38000" b="1583"/>
          <a:stretch/>
        </p:blipFill>
        <p:spPr>
          <a:xfrm>
            <a:off x="5638800" y="0"/>
            <a:ext cx="6553200"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45076"/>
            <a:ext cx="5151966" cy="449661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xtual</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ing context from information you provide, Custom Decision Service ranks the options and makes a decisi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apid learning</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automatically optimizes based on your feedback. It even experiments with new options to see if the best decision has changed, enabling it to adjust to emerging trend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 to us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is cloud-based, so it’s easy to run, able to plug into your application and help to make decisions in real time</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Custom </a:t>
            </a:r>
            <a:br>
              <a:rPr lang="en-US"/>
            </a:br>
            <a:r>
              <a:rPr lang="en-US"/>
              <a:t>Decision 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38BA38D3-EDA2-4A51-A85C-F7B4BB3FB30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8050" y="376519"/>
            <a:ext cx="725650" cy="725650"/>
          </a:xfrm>
          <a:prstGeom prst="rect">
            <a:avLst/>
          </a:prstGeom>
        </p:spPr>
      </p:pic>
      <p:sp>
        <p:nvSpPr>
          <p:cNvPr id="2" name="Rectangle 1">
            <a:extLst>
              <a:ext uri="{FF2B5EF4-FFF2-40B4-BE49-F238E27FC236}">
                <a16:creationId xmlns:a16="http://schemas.microsoft.com/office/drawing/2014/main" id="{B8078B29-1302-42C5-8F1A-C9476B9A7BA8}"/>
              </a:ext>
            </a:extLst>
          </p:cNvPr>
          <p:cNvSpPr/>
          <p:nvPr/>
        </p:nvSpPr>
        <p:spPr>
          <a:xfrm>
            <a:off x="397566" y="1667974"/>
            <a:ext cx="5021101" cy="646331"/>
          </a:xfrm>
          <a:prstGeom prst="rect">
            <a:avLst/>
          </a:prstGeom>
        </p:spPr>
        <p:txBody>
          <a:bodyPr wrap="square">
            <a:spAutoFit/>
          </a:bodyPr>
          <a:lstStyle/>
          <a:p>
            <a:r>
              <a:rPr lang="en-US" kern="0" dirty="0">
                <a:gradFill>
                  <a:gsLst>
                    <a:gs pos="1250">
                      <a:srgbClr val="FFFFFF"/>
                    </a:gs>
                    <a:gs pos="100000">
                      <a:srgbClr val="FFFFFF"/>
                    </a:gs>
                  </a:gsLst>
                  <a:lin ang="5400000" scaled="0"/>
                </a:gradFill>
                <a:latin typeface="Segoe UI"/>
              </a:rPr>
              <a:t>A cloud-based, contextual decision-making API that sharpens with experience.</a:t>
            </a:r>
          </a:p>
        </p:txBody>
      </p:sp>
    </p:spTree>
    <p:extLst>
      <p:ext uri="{BB962C8B-B14F-4D97-AF65-F5344CB8AC3E}">
        <p14:creationId xmlns:p14="http://schemas.microsoft.com/office/powerpoint/2010/main" val="422991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person, man, building, standing&#10;&#10;Description generated with very high confidence">
            <a:extLst>
              <a:ext uri="{FF2B5EF4-FFF2-40B4-BE49-F238E27FC236}">
                <a16:creationId xmlns:a16="http://schemas.microsoft.com/office/drawing/2014/main" id="{C3C417A7-6E25-4779-8C20-119D2C8353BD}"/>
              </a:ext>
            </a:extLst>
          </p:cNvPr>
          <p:cNvPicPr>
            <a:picLocks noChangeAspect="1"/>
          </p:cNvPicPr>
          <p:nvPr/>
        </p:nvPicPr>
        <p:blipFill rotWithShape="1">
          <a:blip r:embed="rId3"/>
          <a:srcRect l="20819" r="23681" b="6257"/>
          <a:stretch/>
        </p:blipFill>
        <p:spPr>
          <a:xfrm flipH="1">
            <a:off x="6096000" y="487"/>
            <a:ext cx="6094270" cy="6857027"/>
          </a:xfrm>
          <a:prstGeom prst="rect">
            <a:avLst/>
          </a:prstGeom>
        </p:spPr>
      </p:pic>
      <p:grpSp>
        <p:nvGrpSpPr>
          <p:cNvPr id="2" name="Group 1">
            <a:extLst>
              <a:ext uri="{FF2B5EF4-FFF2-40B4-BE49-F238E27FC236}">
                <a16:creationId xmlns:a16="http://schemas.microsoft.com/office/drawing/2014/main" id="{08FC0D0A-A1EF-4C9E-B030-9792ECE16439}"/>
              </a:ext>
            </a:extLst>
          </p:cNvPr>
          <p:cNvGrpSpPr/>
          <p:nvPr/>
        </p:nvGrpSpPr>
        <p:grpSpPr>
          <a:xfrm>
            <a:off x="0" y="1828800"/>
            <a:ext cx="6096000" cy="3200400"/>
            <a:chOff x="0" y="1600201"/>
            <a:chExt cx="6096000" cy="3200400"/>
          </a:xfrm>
        </p:grpSpPr>
        <p:grpSp>
          <p:nvGrpSpPr>
            <p:cNvPr id="5" name="Group 4">
              <a:extLst>
                <a:ext uri="{FF2B5EF4-FFF2-40B4-BE49-F238E27FC236}">
                  <a16:creationId xmlns:a16="http://schemas.microsoft.com/office/drawing/2014/main" id="{5E793AA2-03EA-4040-B030-E6441F560986}"/>
                </a:ext>
              </a:extLst>
            </p:cNvPr>
            <p:cNvGrpSpPr/>
            <p:nvPr/>
          </p:nvGrpSpPr>
          <p:grpSpPr>
            <a:xfrm>
              <a:off x="0" y="1600201"/>
              <a:ext cx="6096000" cy="3200400"/>
              <a:chOff x="0" y="1600201"/>
              <a:chExt cx="6096000" cy="3200400"/>
            </a:xfrm>
          </p:grpSpPr>
          <p:sp>
            <p:nvSpPr>
              <p:cNvPr id="14" name="Rectangle 13"/>
              <p:cNvSpPr/>
              <p:nvPr/>
            </p:nvSpPr>
            <p:spPr bwMode="auto">
              <a:xfrm>
                <a:off x="0" y="1600201"/>
                <a:ext cx="6096000" cy="3200400"/>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36576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ecause Custom Decision Service is constantly learning and refining its choices, the results just keep getting better and better over time.”</a:t>
                </a:r>
              </a:p>
              <a:p>
                <a:pPr marL="115888" marR="0" lvl="0" indent="-115888" algn="l" defTabSz="914314" rtl="0" eaLnBrk="1" fontAlgn="auto" latinLnBrk="0" hangingPunct="1">
                  <a:lnSpc>
                    <a:spcPct val="90000"/>
                  </a:lnSpc>
                  <a:spcBef>
                    <a:spcPts val="0"/>
                  </a:spcBef>
                  <a:spcAft>
                    <a:spcPts val="0"/>
                  </a:spcAft>
                  <a:buClrTx/>
                  <a:buSzTx/>
                  <a:buFontTx/>
                  <a:buNone/>
                  <a:tabLst/>
                  <a:defRPr/>
                </a:pPr>
                <a:endPar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endParaRPr>
              </a:p>
              <a:p>
                <a:pPr marL="50800" marR="0" lvl="0" indent="0" algn="l" defTabSz="91431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Ayalla</a:t>
                </a: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a:t>
                </a: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Barazany</a:t>
                </a: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Vice President of Product,</a:t>
                </a:r>
                <a:b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mplex Networks</a:t>
                </a:r>
              </a:p>
            </p:txBody>
          </p:sp>
          <p:sp>
            <p:nvSpPr>
              <p:cNvPr id="16" name="Rectangle 15">
                <a:extLst>
                  <a:ext uri="{FF2B5EF4-FFF2-40B4-BE49-F238E27FC236}">
                    <a16:creationId xmlns:a16="http://schemas.microsoft.com/office/drawing/2014/main" id="{86D6BF14-8F5D-4C3D-B1BE-7475F7E74740}"/>
                  </a:ext>
                </a:extLst>
              </p:cNvPr>
              <p:cNvSpPr/>
              <p:nvPr/>
            </p:nvSpPr>
            <p:spPr>
              <a:xfrm>
                <a:off x="444500" y="4048904"/>
                <a:ext cx="1892300"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5556">
                          <a:srgbClr val="0078D7">
                            <a:lumMod val="75000"/>
                          </a:srgbClr>
                        </a:gs>
                        <a:gs pos="58000">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Custom Decision Service</a:t>
                </a:r>
              </a:p>
            </p:txBody>
          </p:sp>
        </p:grpSp>
        <p:sp>
          <p:nvSpPr>
            <p:cNvPr id="7" name="TextBox 6">
              <a:hlinkClick r:id="rId4"/>
              <a:extLst>
                <a:ext uri="{FF2B5EF4-FFF2-40B4-BE49-F238E27FC236}">
                  <a16:creationId xmlns:a16="http://schemas.microsoft.com/office/drawing/2014/main" id="{1760731B-3357-45C8-9AC0-616B5EB06371}"/>
                </a:ext>
              </a:extLst>
            </p:cNvPr>
            <p:cNvSpPr txBox="1"/>
            <p:nvPr/>
          </p:nvSpPr>
          <p:spPr>
            <a:xfrm>
              <a:off x="2429342" y="4048971"/>
              <a:ext cx="1800863" cy="446829"/>
            </a:xfrm>
            <a:prstGeom prst="rect">
              <a:avLst/>
            </a:prstGeom>
            <a:solidFill>
              <a:schemeClr val="accent3">
                <a:lumMod val="60000"/>
                <a:lumOff val="40000"/>
                <a:alpha val="90000"/>
              </a:schemeClr>
            </a:solidFill>
          </p:spPr>
          <p:txBody>
            <a:bodyPr wrap="none" lIns="175761" tIns="140609" rIns="175761" bIns="140609" rtlCol="0" anchor="ctr">
              <a:sp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9" name="Picture 8">
            <a:extLst>
              <a:ext uri="{FF2B5EF4-FFF2-40B4-BE49-F238E27FC236}">
                <a16:creationId xmlns:a16="http://schemas.microsoft.com/office/drawing/2014/main" id="{B5A8EC72-8EDD-43A2-93C9-35EA96C12B3E}"/>
              </a:ext>
            </a:extLst>
          </p:cNvPr>
          <p:cNvPicPr>
            <a:picLocks noChangeAspect="1"/>
          </p:cNvPicPr>
          <p:nvPr/>
        </p:nvPicPr>
        <p:blipFill>
          <a:blip r:embed="rId5"/>
          <a:stretch>
            <a:fillRect/>
          </a:stretch>
        </p:blipFill>
        <p:spPr>
          <a:xfrm>
            <a:off x="444500" y="457200"/>
            <a:ext cx="3071144" cy="334520"/>
          </a:xfrm>
          <a:prstGeom prst="rect">
            <a:avLst/>
          </a:prstGeom>
        </p:spPr>
      </p:pic>
    </p:spTree>
    <p:extLst>
      <p:ext uri="{BB962C8B-B14F-4D97-AF65-F5344CB8AC3E}">
        <p14:creationId xmlns:p14="http://schemas.microsoft.com/office/powerpoint/2010/main" val="399684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4A861-AE46-493B-B683-4E435176B561}"/>
              </a:ext>
            </a:extLst>
          </p:cNvPr>
          <p:cNvSpPr>
            <a:spLocks noGrp="1"/>
          </p:cNvSpPr>
          <p:nvPr>
            <p:ph type="title"/>
          </p:nvPr>
        </p:nvSpPr>
        <p:spPr/>
        <p:txBody>
          <a:bodyPr/>
          <a:lstStyle/>
          <a:p>
            <a:r>
              <a:rPr lang="en-US"/>
              <a:t>SEARCH</a:t>
            </a:r>
          </a:p>
        </p:txBody>
      </p:sp>
      <p:sp>
        <p:nvSpPr>
          <p:cNvPr id="11" name="Rectangle 10">
            <a:extLst>
              <a:ext uri="{FF2B5EF4-FFF2-40B4-BE49-F238E27FC236}">
                <a16:creationId xmlns:a16="http://schemas.microsoft.com/office/drawing/2014/main" id="{E8C5F696-5AF7-4168-AE0D-140BC979E445}"/>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12" name="Rectangle 11">
            <a:extLst>
              <a:ext uri="{FF2B5EF4-FFF2-40B4-BE49-F238E27FC236}">
                <a16:creationId xmlns:a16="http://schemas.microsoft.com/office/drawing/2014/main" id="{490FD6C3-1DD3-4073-B1C9-9B4C8F5B3E68}"/>
              </a:ext>
            </a:extLst>
          </p:cNvPr>
          <p:cNvSpPr/>
          <p:nvPr/>
        </p:nvSpPr>
        <p:spPr>
          <a:xfrm>
            <a:off x="4267200" y="5076629"/>
            <a:ext cx="7199086"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ing Web Search | Bing Image Search | Bing News Search | Bing Video Search | Bing Auto Suggest | Bing Custom Search | Bing Entity Search</a:t>
            </a:r>
          </a:p>
        </p:txBody>
      </p:sp>
      <p:pic>
        <p:nvPicPr>
          <p:cNvPr id="10" name="Picture 9">
            <a:extLst>
              <a:ext uri="{FF2B5EF4-FFF2-40B4-BE49-F238E27FC236}">
                <a16:creationId xmlns:a16="http://schemas.microsoft.com/office/drawing/2014/main" id="{39D38F95-6520-4B7D-A1A3-2C87D3CBBAD5}"/>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253279" y="2739742"/>
            <a:ext cx="1349658" cy="1349658"/>
          </a:xfrm>
          <a:prstGeom prst="rect">
            <a:avLst/>
          </a:prstGeom>
        </p:spPr>
      </p:pic>
    </p:spTree>
    <p:extLst>
      <p:ext uri="{BB962C8B-B14F-4D97-AF65-F5344CB8AC3E}">
        <p14:creationId xmlns:p14="http://schemas.microsoft.com/office/powerpoint/2010/main" val="168070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rotWithShape="1">
          <a:blip r:embed="rId3">
            <a:extLst>
              <a:ext uri="{28A0092B-C50C-407E-A947-70E740481C1C}">
                <a14:useLocalDpi xmlns:a14="http://schemas.microsoft.com/office/drawing/2010/main" val="0"/>
              </a:ext>
            </a:extLst>
          </a:blip>
          <a:srcRect l="25085" t="12921" r="30237" b="17388"/>
          <a:stretch/>
        </p:blipFill>
        <p:spPr>
          <a:xfrm flipH="1">
            <a:off x="5638800" y="2675"/>
            <a:ext cx="6598776" cy="6855326"/>
          </a:xfrm>
          <a:prstGeom prst="rect">
            <a:avLst/>
          </a:prstGeom>
        </p:spPr>
      </p:pic>
      <p:sp>
        <p:nvSpPr>
          <p:cNvPr id="11" name="Title 1"/>
          <p:cNvSpPr txBox="1">
            <a:spLocks/>
          </p:cNvSpPr>
          <p:nvPr/>
        </p:nvSpPr>
        <p:spPr>
          <a:xfrm>
            <a:off x="1119515" y="4093062"/>
            <a:ext cx="10347653" cy="2783101"/>
          </a:xfrm>
          <a:prstGeom prst="rect">
            <a:avLst/>
          </a:prstGeom>
        </p:spPr>
        <p:txBody>
          <a:bodyPr vert="horz" lIns="91343" tIns="45670" rIns="91343" bIns="45670"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490"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5A256128-2D4C-4854-BBD8-676D9769F313}"/>
              </a:ext>
            </a:extLst>
          </p:cNvPr>
          <p:cNvSpPr/>
          <p:nvPr/>
        </p:nvSpPr>
        <p:spPr bwMode="auto">
          <a:xfrm>
            <a:off x="0" y="-9287"/>
            <a:ext cx="5638800"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E4863171-6DCE-4C59-927F-89B39DA6C8CE}"/>
              </a:ext>
            </a:extLst>
          </p:cNvPr>
          <p:cNvSpPr/>
          <p:nvPr/>
        </p:nvSpPr>
        <p:spPr>
          <a:xfrm>
            <a:off x="266700" y="1958640"/>
            <a:ext cx="5372097" cy="2449901"/>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lligent search to your apps with the ability to comb billion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webpages, images, video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news with a single API call</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trieve web documents indexed by Bing and narrow the results down with filters such as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y answer type and freshness</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AE9E83E-DE85-4636-A692-9595A8DEC68F}"/>
              </a:ext>
            </a:extLst>
          </p:cNvPr>
          <p:cNvSpPr>
            <a:spLocks noGrp="1"/>
          </p:cNvSpPr>
          <p:nvPr>
            <p:ph type="title"/>
          </p:nvPr>
        </p:nvSpPr>
        <p:spPr/>
        <p:txBody>
          <a:bodyPr/>
          <a:lstStyle/>
          <a:p>
            <a:r>
              <a:rPr lang="en-US"/>
              <a:t>Bing web search</a:t>
            </a:r>
          </a:p>
        </p:txBody>
      </p:sp>
      <p:sp>
        <p:nvSpPr>
          <p:cNvPr id="12" name="Oval 11">
            <a:extLst>
              <a:ext uri="{FF2B5EF4-FFF2-40B4-BE49-F238E27FC236}">
                <a16:creationId xmlns:a16="http://schemas.microsoft.com/office/drawing/2014/main" id="{43E9DFA9-A381-44DA-A29C-D57AA95524A1}"/>
              </a:ext>
            </a:extLst>
          </p:cNvPr>
          <p:cNvSpPr/>
          <p:nvPr/>
        </p:nvSpPr>
        <p:spPr bwMode="auto">
          <a:xfrm>
            <a:off x="11008690" y="265919"/>
            <a:ext cx="904372" cy="904372"/>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2F2ADF4A-BBB5-496A-AD34-BC1DE399F27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529" y="387758"/>
            <a:ext cx="660694" cy="660694"/>
          </a:xfrm>
          <a:prstGeom prst="rect">
            <a:avLst/>
          </a:prstGeom>
        </p:spPr>
      </p:pic>
    </p:spTree>
    <p:extLst>
      <p:ext uri="{BB962C8B-B14F-4D97-AF65-F5344CB8AC3E}">
        <p14:creationId xmlns:p14="http://schemas.microsoft.com/office/powerpoint/2010/main" val="60496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9" name="Picture 11268"/>
          <p:cNvPicPr>
            <a:picLocks noChangeAspect="1"/>
          </p:cNvPicPr>
          <p:nvPr/>
        </p:nvPicPr>
        <p:blipFill rotWithShape="1">
          <a:blip r:embed="rId3">
            <a:extLst>
              <a:ext uri="{28A0092B-C50C-407E-A947-70E740481C1C}">
                <a14:useLocalDpi xmlns:a14="http://schemas.microsoft.com/office/drawing/2010/main" val="0"/>
              </a:ext>
            </a:extLst>
          </a:blip>
          <a:srcRect l="-37349" t="1488" r="20339" b="-292"/>
          <a:stretch/>
        </p:blipFill>
        <p:spPr>
          <a:xfrm>
            <a:off x="-25596" y="2674"/>
            <a:ext cx="12237488" cy="6893804"/>
          </a:xfrm>
          <a:prstGeom prst="rect">
            <a:avLst/>
          </a:prstGeom>
        </p:spPr>
      </p:pic>
      <p:sp>
        <p:nvSpPr>
          <p:cNvPr id="9" name="Rectangle 8">
            <a:extLst>
              <a:ext uri="{FF2B5EF4-FFF2-40B4-BE49-F238E27FC236}">
                <a16:creationId xmlns:a16="http://schemas.microsoft.com/office/drawing/2014/main" id="{E7C783EE-6DB9-4576-A7C4-2369F200CA5C}"/>
              </a:ext>
            </a:extLst>
          </p:cNvPr>
          <p:cNvSpPr/>
          <p:nvPr/>
        </p:nvSpPr>
        <p:spPr bwMode="auto">
          <a:xfrm>
            <a:off x="0" y="-9287"/>
            <a:ext cx="5638797"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FE495B5D-A88B-4C93-B061-1C0D8C914B7D}"/>
              </a:ext>
            </a:extLst>
          </p:cNvPr>
          <p:cNvSpPr/>
          <p:nvPr/>
        </p:nvSpPr>
        <p:spPr>
          <a:xfrm>
            <a:off x="266700" y="1958640"/>
            <a:ext cx="5372097" cy="236680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 variety of image search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ptions, from trending image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o detailed insight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our the web for images and get results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t include thumbnail and full image URLs, publishing website, image metadata,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lated images, and more</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a:t>Bing image search</a:t>
            </a:r>
          </a:p>
        </p:txBody>
      </p:sp>
      <p:pic>
        <p:nvPicPr>
          <p:cNvPr id="4" name="Picture 3">
            <a:extLst>
              <a:ext uri="{FF2B5EF4-FFF2-40B4-BE49-F238E27FC236}">
                <a16:creationId xmlns:a16="http://schemas.microsoft.com/office/drawing/2014/main" id="{1E9AC698-A683-479E-A5C2-93D0543C446D}"/>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381" y="318610"/>
            <a:ext cx="798990" cy="798990"/>
          </a:xfrm>
          <a:prstGeom prst="rect">
            <a:avLst/>
          </a:prstGeom>
        </p:spPr>
      </p:pic>
    </p:spTree>
    <p:extLst>
      <p:ext uri="{BB962C8B-B14F-4D97-AF65-F5344CB8AC3E}">
        <p14:creationId xmlns:p14="http://schemas.microsoft.com/office/powerpoint/2010/main" val="315952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26607" t="3637" r="13537" b="1534"/>
          <a:stretch/>
        </p:blipFill>
        <p:spPr>
          <a:xfrm>
            <a:off x="5600702" y="0"/>
            <a:ext cx="6591298" cy="6955037"/>
          </a:xfrm>
          <a:prstGeom prst="rect">
            <a:avLst/>
          </a:prstGeom>
        </p:spPr>
      </p:pic>
      <p:sp>
        <p:nvSpPr>
          <p:cNvPr id="11" name="Title 1"/>
          <p:cNvSpPr txBox="1">
            <a:spLocks/>
          </p:cNvSpPr>
          <p:nvPr/>
        </p:nvSpPr>
        <p:spPr>
          <a:xfrm>
            <a:off x="1119515" y="4093062"/>
            <a:ext cx="10347653" cy="2783101"/>
          </a:xfrm>
          <a:prstGeom prst="rect">
            <a:avLst/>
          </a:prstGeom>
        </p:spPr>
        <p:txBody>
          <a:bodyPr vert="horz" lIns="91343" tIns="45670" rIns="91343" bIns="45670"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490"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2" name="Rectangle 11">
            <a:extLst>
              <a:ext uri="{FF2B5EF4-FFF2-40B4-BE49-F238E27FC236}">
                <a16:creationId xmlns:a16="http://schemas.microsoft.com/office/drawing/2014/main" id="{CD302440-A00E-40B2-BE6B-F028197D5B36}"/>
              </a:ext>
            </a:extLst>
          </p:cNvPr>
          <p:cNvSpPr/>
          <p:nvPr/>
        </p:nvSpPr>
        <p:spPr bwMode="auto">
          <a:xfrm>
            <a:off x="0" y="-9288"/>
            <a:ext cx="5638800" cy="6966999"/>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15C1E3E1-F571-4C91-8F26-D19213A4D1E1}"/>
              </a:ext>
            </a:extLst>
          </p:cNvPr>
          <p:cNvSpPr>
            <a:spLocks noGrp="1"/>
          </p:cNvSpPr>
          <p:nvPr>
            <p:ph type="title"/>
          </p:nvPr>
        </p:nvSpPr>
        <p:spPr/>
        <p:txBody>
          <a:bodyPr/>
          <a:lstStyle/>
          <a:p>
            <a:r>
              <a:rPr lang="en-US"/>
              <a:t>Bing video search</a:t>
            </a:r>
          </a:p>
        </p:txBody>
      </p:sp>
      <p:sp>
        <p:nvSpPr>
          <p:cNvPr id="13" name="Rectangle 12">
            <a:extLst>
              <a:ext uri="{FF2B5EF4-FFF2-40B4-BE49-F238E27FC236}">
                <a16:creationId xmlns:a16="http://schemas.microsoft.com/office/drawing/2014/main" id="{ABF34270-33E2-41E4-B79D-546ED2C0CE1B}"/>
              </a:ext>
            </a:extLst>
          </p:cNvPr>
          <p:cNvSpPr/>
          <p:nvPr/>
        </p:nvSpPr>
        <p:spPr>
          <a:xfrm>
            <a:off x="266701" y="1958640"/>
            <a:ext cx="5067300" cy="26992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 variety of advanced video search features, including trending videos, price, and other useful metadata</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ind videos from across the web and get responses that provide useful metadata including creator, encoding format, video size and quality, and source view count</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6B2C9970-30D1-4DBF-B42F-FE52F6E5BA47}"/>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4" name="Picture 3">
            <a:extLst>
              <a:ext uri="{FF2B5EF4-FFF2-40B4-BE49-F238E27FC236}">
                <a16:creationId xmlns:a16="http://schemas.microsoft.com/office/drawing/2014/main" id="{311AF386-7CE6-4376-BE53-8F2E5297EA5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79876" y="337105"/>
            <a:ext cx="762000" cy="762000"/>
          </a:xfrm>
          <a:prstGeom prst="rect">
            <a:avLst/>
          </a:prstGeom>
        </p:spPr>
      </p:pic>
    </p:spTree>
    <p:extLst>
      <p:ext uri="{BB962C8B-B14F-4D97-AF65-F5344CB8AC3E}">
        <p14:creationId xmlns:p14="http://schemas.microsoft.com/office/powerpoint/2010/main" val="280551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211" t="7361" r="48059" b="15056"/>
          <a:stretch/>
        </p:blipFill>
        <p:spPr>
          <a:xfrm>
            <a:off x="5600701" y="2674"/>
            <a:ext cx="6591299" cy="6855326"/>
          </a:xfrm>
          <a:prstGeom prst="rect">
            <a:avLst/>
          </a:prstGeom>
        </p:spPr>
      </p:pic>
      <p:sp>
        <p:nvSpPr>
          <p:cNvPr id="14" name="Rectangle 13">
            <a:extLst>
              <a:ext uri="{FF2B5EF4-FFF2-40B4-BE49-F238E27FC236}">
                <a16:creationId xmlns:a16="http://schemas.microsoft.com/office/drawing/2014/main" id="{D20A7D8B-8968-4809-AB2D-C09FF5A656AD}"/>
              </a:ext>
            </a:extLst>
          </p:cNvPr>
          <p:cNvSpPr/>
          <p:nvPr/>
        </p:nvSpPr>
        <p:spPr bwMode="auto">
          <a:xfrm>
            <a:off x="0" y="-9287"/>
            <a:ext cx="5638800" cy="6867288"/>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36678271-4A38-4935-BCFC-F664EC52570D}"/>
              </a:ext>
            </a:extLst>
          </p:cNvPr>
          <p:cNvSpPr/>
          <p:nvPr/>
        </p:nvSpPr>
        <p:spPr>
          <a:xfrm>
            <a:off x="266701" y="1958640"/>
            <a:ext cx="5067300" cy="162506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urn any app into a news desk with world news grouped and filtered by topic, local new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metadata you can mine</a:t>
            </a:r>
          </a:p>
        </p:txBody>
      </p:sp>
      <p:sp>
        <p:nvSpPr>
          <p:cNvPr id="16" name="Oval 15">
            <a:extLst>
              <a:ext uri="{FF2B5EF4-FFF2-40B4-BE49-F238E27FC236}">
                <a16:creationId xmlns:a16="http://schemas.microsoft.com/office/drawing/2014/main" id="{62AD5A3C-BB03-4A7A-9078-9A2DBF95CDC2}"/>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498F5978-63B8-4818-8F5E-80E8C291EEED}"/>
              </a:ext>
            </a:extLst>
          </p:cNvPr>
          <p:cNvSpPr>
            <a:spLocks noGrp="1"/>
          </p:cNvSpPr>
          <p:nvPr>
            <p:ph type="title"/>
          </p:nvPr>
        </p:nvSpPr>
        <p:spPr/>
        <p:txBody>
          <a:bodyPr/>
          <a:lstStyle/>
          <a:p>
            <a:r>
              <a:rPr lang="en-US"/>
              <a:t>Bing news search</a:t>
            </a:r>
          </a:p>
        </p:txBody>
      </p:sp>
      <p:pic>
        <p:nvPicPr>
          <p:cNvPr id="4" name="Picture 3">
            <a:extLst>
              <a:ext uri="{FF2B5EF4-FFF2-40B4-BE49-F238E27FC236}">
                <a16:creationId xmlns:a16="http://schemas.microsoft.com/office/drawing/2014/main" id="{DBC6E7DB-E0E5-4E6E-8E60-A3A1E6973D5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0752" y="385585"/>
            <a:ext cx="700248" cy="700248"/>
          </a:xfrm>
          <a:prstGeom prst="rect">
            <a:avLst/>
          </a:prstGeom>
        </p:spPr>
      </p:pic>
    </p:spTree>
    <p:extLst>
      <p:ext uri="{BB962C8B-B14F-4D97-AF65-F5344CB8AC3E}">
        <p14:creationId xmlns:p14="http://schemas.microsoft.com/office/powerpoint/2010/main" val="119847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l="-35988" t="19198" r="48414" b="1482"/>
          <a:stretch/>
        </p:blipFill>
        <p:spPr>
          <a:xfrm>
            <a:off x="1" y="2674"/>
            <a:ext cx="12192000" cy="6886312"/>
          </a:xfrm>
          <a:prstGeom prst="rect">
            <a:avLst/>
          </a:prstGeom>
        </p:spPr>
      </p:pic>
      <p:sp>
        <p:nvSpPr>
          <p:cNvPr id="14" name="Rectangle 13">
            <a:extLst>
              <a:ext uri="{FF2B5EF4-FFF2-40B4-BE49-F238E27FC236}">
                <a16:creationId xmlns:a16="http://schemas.microsoft.com/office/drawing/2014/main" id="{613343B6-CF35-4CEE-A9E9-BE5C171064A2}"/>
              </a:ext>
            </a:extLst>
          </p:cNvPr>
          <p:cNvSpPr/>
          <p:nvPr/>
        </p:nvSpPr>
        <p:spPr bwMode="auto">
          <a:xfrm>
            <a:off x="0" y="-9287"/>
            <a:ext cx="5638800" cy="6898274"/>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22288D09-6FAB-4638-BA67-6999CD90C234}"/>
              </a:ext>
            </a:extLst>
          </p:cNvPr>
          <p:cNvSpPr/>
          <p:nvPr/>
        </p:nvSpPr>
        <p:spPr>
          <a:xfrm>
            <a:off x="266701" y="1958640"/>
            <a:ext cx="5067300" cy="162506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Query completion suggestions capabilities, so users can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less and get to what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ey want faster</a:t>
            </a:r>
          </a:p>
        </p:txBody>
      </p:sp>
      <p:sp>
        <p:nvSpPr>
          <p:cNvPr id="16" name="Oval 15">
            <a:extLst>
              <a:ext uri="{FF2B5EF4-FFF2-40B4-BE49-F238E27FC236}">
                <a16:creationId xmlns:a16="http://schemas.microsoft.com/office/drawing/2014/main" id="{FC55DCC9-A73E-4C2E-9D74-076793F9F82F}"/>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EF7567E-48EB-4A33-AF4E-B4CA5521F1F3}"/>
              </a:ext>
            </a:extLst>
          </p:cNvPr>
          <p:cNvSpPr>
            <a:spLocks noGrp="1"/>
          </p:cNvSpPr>
          <p:nvPr>
            <p:ph type="title"/>
          </p:nvPr>
        </p:nvSpPr>
        <p:spPr/>
        <p:txBody>
          <a:bodyPr/>
          <a:lstStyle/>
          <a:p>
            <a:r>
              <a:rPr lang="en-US"/>
              <a:t>Bing autosuggest</a:t>
            </a:r>
          </a:p>
        </p:txBody>
      </p:sp>
      <p:pic>
        <p:nvPicPr>
          <p:cNvPr id="4" name="Picture 3">
            <a:extLst>
              <a:ext uri="{FF2B5EF4-FFF2-40B4-BE49-F238E27FC236}">
                <a16:creationId xmlns:a16="http://schemas.microsoft.com/office/drawing/2014/main" id="{AEBD0069-A849-4978-AF60-A6975187B61B}"/>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18267" y="245082"/>
            <a:ext cx="910618" cy="910618"/>
          </a:xfrm>
          <a:prstGeom prst="rect">
            <a:avLst/>
          </a:prstGeom>
        </p:spPr>
      </p:pic>
    </p:spTree>
    <p:extLst>
      <p:ext uri="{BB962C8B-B14F-4D97-AF65-F5344CB8AC3E}">
        <p14:creationId xmlns:p14="http://schemas.microsoft.com/office/powerpoint/2010/main" val="392183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l="34301" t="8991" r="12156" b="6849"/>
          <a:stretch/>
        </p:blipFill>
        <p:spPr>
          <a:xfrm flipH="1">
            <a:off x="5638797" y="-9289"/>
            <a:ext cx="6553201" cy="6867289"/>
          </a:xfrm>
          <a:prstGeom prst="rect">
            <a:avLst/>
          </a:prstGeom>
        </p:spPr>
      </p:pic>
      <p:sp>
        <p:nvSpPr>
          <p:cNvPr id="18" name="Rectangle 17">
            <a:extLst>
              <a:ext uri="{FF2B5EF4-FFF2-40B4-BE49-F238E27FC236}">
                <a16:creationId xmlns:a16="http://schemas.microsoft.com/office/drawing/2014/main" id="{87A3CA9F-98E5-446A-AD24-F34ECB8A29AD}"/>
              </a:ext>
            </a:extLst>
          </p:cNvPr>
          <p:cNvSpPr/>
          <p:nvPr/>
        </p:nvSpPr>
        <p:spPr bwMode="auto">
          <a:xfrm>
            <a:off x="0" y="-9288"/>
            <a:ext cx="5638800" cy="6885451"/>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A2CC116D-F34B-406F-A0CC-E80A8BC0B5DC}"/>
              </a:ext>
            </a:extLst>
          </p:cNvPr>
          <p:cNvSpPr/>
          <p:nvPr/>
        </p:nvSpPr>
        <p:spPr>
          <a:xfrm>
            <a:off x="266701" y="1900582"/>
            <a:ext cx="5067300" cy="4727448"/>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ize your search</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reliably define the slices of the web that you want to draw from. Change the parameters of the sites you want and don't want at any time </a:t>
            </a:r>
          </a:p>
          <a:p>
            <a:pPr marL="0" marR="0" lvl="0" indent="0" algn="l" defTabSz="895838" rtl="0" eaLnBrk="1" fontAlgn="auto" latinLnBrk="0" hangingPunct="1">
              <a:lnSpc>
                <a:spcPct val="90000"/>
              </a:lnSpc>
              <a:spcBef>
                <a:spcPts val="600"/>
              </a:spcBef>
              <a:spcAft>
                <a:spcPts val="0"/>
              </a:spcAft>
              <a:buClrTx/>
              <a:buSzTx/>
              <a:buFontTx/>
              <a:buNone/>
              <a:tabLst/>
              <a:defRPr/>
            </a:pPr>
            <a:endParaRPr lang="en-US" kern="0" dirty="0">
              <a:gradFill>
                <a:gsLst>
                  <a:gs pos="1250">
                    <a:srgbClr val="FFFFFF"/>
                  </a:gs>
                  <a:gs pos="100000">
                    <a:srgbClr val="FFFFFF"/>
                  </a:gs>
                </a:gsLst>
                <a:lin ang="5400000" scaled="0"/>
              </a:gradFill>
              <a:latin typeface="Segoe UI"/>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to-use</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Search features a straightforward UI that enables you to create your web search without a line 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mmercial-grade</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age is ad-free – no matter how much or how little of the service you use</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4C0EA5D5-4288-401D-87AF-8C29EFA41A50}"/>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B0242DDC-D765-44EA-980B-5321F98B03D1}"/>
              </a:ext>
            </a:extLst>
          </p:cNvPr>
          <p:cNvSpPr>
            <a:spLocks noGrp="1"/>
          </p:cNvSpPr>
          <p:nvPr>
            <p:ph type="title"/>
          </p:nvPr>
        </p:nvSpPr>
        <p:spPr/>
        <p:txBody>
          <a:bodyPr/>
          <a:lstStyle/>
          <a:p>
            <a:r>
              <a:rPr lang="en-US"/>
              <a:t>Bing custom search</a:t>
            </a:r>
          </a:p>
        </p:txBody>
      </p:sp>
      <p:sp>
        <p:nvSpPr>
          <p:cNvPr id="22" name="Rectangle 21">
            <a:extLst>
              <a:ext uri="{FF2B5EF4-FFF2-40B4-BE49-F238E27FC236}">
                <a16:creationId xmlns:a16="http://schemas.microsoft.com/office/drawing/2014/main" id="{491D99C6-9ECE-415B-8204-512D174226E5}"/>
              </a:ext>
            </a:extLst>
          </p:cNvPr>
          <p:cNvSpPr/>
          <p:nvPr/>
        </p:nvSpPr>
        <p:spPr>
          <a:xfrm>
            <a:off x="266701" y="1081477"/>
            <a:ext cx="5360078" cy="707886"/>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An easy-to-use, ad-free, commercial-grade search tool lets you deliver results you want</a:t>
            </a:r>
          </a:p>
        </p:txBody>
      </p:sp>
      <p:pic>
        <p:nvPicPr>
          <p:cNvPr id="4" name="Picture 3">
            <a:extLst>
              <a:ext uri="{FF2B5EF4-FFF2-40B4-BE49-F238E27FC236}">
                <a16:creationId xmlns:a16="http://schemas.microsoft.com/office/drawing/2014/main" id="{B0AC1DE1-5B18-4183-9AE2-A78289871C9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4476" y="289511"/>
            <a:ext cx="812800" cy="812800"/>
          </a:xfrm>
          <a:prstGeom prst="rect">
            <a:avLst/>
          </a:prstGeom>
        </p:spPr>
      </p:pic>
    </p:spTree>
    <p:extLst>
      <p:ext uri="{BB962C8B-B14F-4D97-AF65-F5344CB8AC3E}">
        <p14:creationId xmlns:p14="http://schemas.microsoft.com/office/powerpoint/2010/main" val="155133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31A161E-BEA2-40E9-ACE7-5B3304E2041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48" name="Rectangle 47">
            <a:extLst>
              <a:ext uri="{FF2B5EF4-FFF2-40B4-BE49-F238E27FC236}">
                <a16:creationId xmlns:a16="http://schemas.microsoft.com/office/drawing/2014/main" id="{8772BEC2-E917-4B39-9CCF-0713C18D2319}"/>
              </a:ext>
            </a:extLst>
          </p:cNvPr>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B81C55F-D1FB-4364-8126-1052DF37F55C}"/>
              </a:ext>
            </a:extLst>
          </p:cNvPr>
          <p:cNvGrpSpPr/>
          <p:nvPr/>
        </p:nvGrpSpPr>
        <p:grpSpPr>
          <a:xfrm>
            <a:off x="863" y="1886851"/>
            <a:ext cx="12208194" cy="3012095"/>
            <a:chOff x="-1" y="1886633"/>
            <a:chExt cx="12209926" cy="3012522"/>
          </a:xfrm>
        </p:grpSpPr>
        <p:sp useBgFill="1">
          <p:nvSpPr>
            <p:cNvPr id="6" name="Rectangle 5">
              <a:extLst>
                <a:ext uri="{FF2B5EF4-FFF2-40B4-BE49-F238E27FC236}">
                  <a16:creationId xmlns:a16="http://schemas.microsoft.com/office/drawing/2014/main" id="{76ADDBAE-B857-4C13-A34A-4A44275EC17F}"/>
                </a:ext>
              </a:extLst>
            </p:cNvPr>
            <p:cNvSpPr/>
            <p:nvPr/>
          </p:nvSpPr>
          <p:spPr bwMode="auto">
            <a:xfrm>
              <a:off x="-1" y="1886633"/>
              <a:ext cx="12205703" cy="301252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46BF32E-EDFC-4375-8226-94547D856C90}"/>
                </a:ext>
              </a:extLst>
            </p:cNvPr>
            <p:cNvCxnSpPr>
              <a:cxnSpLocks/>
            </p:cNvCxnSpPr>
            <p:nvPr/>
          </p:nvCxnSpPr>
          <p:spPr>
            <a:xfrm>
              <a:off x="0" y="1892597"/>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8662D5AB-707C-469F-86D4-08A5A07F4B6F}"/>
              </a:ext>
            </a:extLst>
          </p:cNvPr>
          <p:cNvSpPr/>
          <p:nvPr/>
        </p:nvSpPr>
        <p:spPr>
          <a:xfrm>
            <a:off x="269758" y="1565179"/>
            <a:ext cx="11654496" cy="673491"/>
          </a:xfrm>
          <a:prstGeom prst="rect">
            <a:avLst/>
          </a:prstGeom>
        </p:spPr>
        <p:txBody>
          <a:bodyPr wrap="square" lIns="146284" tIns="91427" rIns="146284" bIns="91427">
            <a:spAutoFit/>
          </a:bodyPr>
          <a:lstStyle/>
          <a:p>
            <a:pPr defTabSz="895870">
              <a:lnSpc>
                <a:spcPct val="90000"/>
              </a:lnSpc>
              <a:spcAft>
                <a:spcPts val="1440"/>
              </a:spcAft>
              <a:defRPr/>
            </a:pPr>
            <a:r>
              <a:rPr lang="en-US" sz="1765" dirty="0">
                <a:gradFill>
                  <a:gsLst>
                    <a:gs pos="13000">
                      <a:srgbClr val="FFFFFF"/>
                    </a:gs>
                    <a:gs pos="83000">
                      <a:srgbClr val="FFFFFF"/>
                    </a:gs>
                  </a:gsLst>
                  <a:lin ang="10800000" scaled="0"/>
                </a:gradFill>
                <a:latin typeface="Segoe UI"/>
              </a:rPr>
              <a:t>The broadest set of custom AI services available, allowing customers to use their own data </a:t>
            </a:r>
            <a:br>
              <a:rPr lang="en-US" sz="1765" dirty="0">
                <a:gradFill>
                  <a:gsLst>
                    <a:gs pos="13000">
                      <a:srgbClr val="FFFFFF"/>
                    </a:gs>
                    <a:gs pos="83000">
                      <a:srgbClr val="FFFFFF"/>
                    </a:gs>
                  </a:gsLst>
                  <a:lin ang="10800000" scaled="0"/>
                </a:gradFill>
                <a:latin typeface="Segoe UI"/>
              </a:rPr>
            </a:br>
            <a:r>
              <a:rPr lang="en-US" sz="1765" dirty="0">
                <a:gradFill>
                  <a:gsLst>
                    <a:gs pos="13000">
                      <a:srgbClr val="FFFFFF"/>
                    </a:gs>
                    <a:gs pos="83000">
                      <a:srgbClr val="FFFFFF"/>
                    </a:gs>
                  </a:gsLst>
                  <a:lin ang="10800000" scaled="0"/>
                </a:gradFill>
                <a:latin typeface="Segoe UI"/>
              </a:rPr>
              <a:t>with algorithms that are customized for their specific needs.</a:t>
            </a:r>
            <a:endParaRPr lang="en-US" sz="2800" dirty="0">
              <a:gradFill>
                <a:gsLst>
                  <a:gs pos="13000">
                    <a:srgbClr val="FFFFFF"/>
                  </a:gs>
                  <a:gs pos="83000">
                    <a:srgbClr val="FFFFFF"/>
                  </a:gs>
                </a:gsLst>
                <a:lin ang="10800000" scaled="0"/>
              </a:gradFill>
              <a:latin typeface="Segoe UI"/>
            </a:endParaRPr>
          </a:p>
        </p:txBody>
      </p:sp>
      <p:sp>
        <p:nvSpPr>
          <p:cNvPr id="147" name="Rectangle 146">
            <a:extLst>
              <a:ext uri="{FF2B5EF4-FFF2-40B4-BE49-F238E27FC236}">
                <a16:creationId xmlns:a16="http://schemas.microsoft.com/office/drawing/2014/main" id="{038524A3-035C-4873-B90B-DD669D3F3515}"/>
              </a:ext>
            </a:extLst>
          </p:cNvPr>
          <p:cNvSpPr/>
          <p:nvPr/>
        </p:nvSpPr>
        <p:spPr bwMode="auto">
          <a:xfrm>
            <a:off x="108" y="6101148"/>
            <a:ext cx="12204729" cy="318424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D4264CB8-3EF4-447F-94A0-4BDE0141E960}"/>
              </a:ext>
            </a:extLst>
          </p:cNvPr>
          <p:cNvSpPr/>
          <p:nvPr/>
        </p:nvSpPr>
        <p:spPr>
          <a:xfrm>
            <a:off x="320875" y="6113761"/>
            <a:ext cx="1807964"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149" name="Rectangle 148">
            <a:extLst>
              <a:ext uri="{FF2B5EF4-FFF2-40B4-BE49-F238E27FC236}">
                <a16:creationId xmlns:a16="http://schemas.microsoft.com/office/drawing/2014/main" id="{757BFBF1-B280-476F-9F52-8E454D73EEEB}"/>
              </a:ext>
            </a:extLst>
          </p:cNvPr>
          <p:cNvSpPr/>
          <p:nvPr/>
        </p:nvSpPr>
        <p:spPr>
          <a:xfrm>
            <a:off x="2146914" y="6113761"/>
            <a:ext cx="2079341"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150" name="Rectangle 149">
            <a:extLst>
              <a:ext uri="{FF2B5EF4-FFF2-40B4-BE49-F238E27FC236}">
                <a16:creationId xmlns:a16="http://schemas.microsoft.com/office/drawing/2014/main" id="{B9519583-465E-47D1-96CE-E6BEA4F8BF78}"/>
              </a:ext>
            </a:extLst>
          </p:cNvPr>
          <p:cNvSpPr/>
          <p:nvPr/>
        </p:nvSpPr>
        <p:spPr>
          <a:xfrm>
            <a:off x="4302693" y="6113761"/>
            <a:ext cx="1634640"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151" name="Rectangle 150">
            <a:extLst>
              <a:ext uri="{FF2B5EF4-FFF2-40B4-BE49-F238E27FC236}">
                <a16:creationId xmlns:a16="http://schemas.microsoft.com/office/drawing/2014/main" id="{E5CFF42F-D749-4994-8ABE-6DE140F2778E}"/>
              </a:ext>
            </a:extLst>
          </p:cNvPr>
          <p:cNvSpPr/>
          <p:nvPr/>
        </p:nvSpPr>
        <p:spPr>
          <a:xfrm>
            <a:off x="6220848" y="6113761"/>
            <a:ext cx="1696044"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152" name="Rectangle 151">
            <a:extLst>
              <a:ext uri="{FF2B5EF4-FFF2-40B4-BE49-F238E27FC236}">
                <a16:creationId xmlns:a16="http://schemas.microsoft.com/office/drawing/2014/main" id="{CA51FF79-9F16-4C2C-A797-E3F1169F2777}"/>
              </a:ext>
            </a:extLst>
          </p:cNvPr>
          <p:cNvSpPr/>
          <p:nvPr/>
        </p:nvSpPr>
        <p:spPr>
          <a:xfrm>
            <a:off x="8122555" y="6113761"/>
            <a:ext cx="1785499"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0" name="Rectangle 49">
            <a:extLst>
              <a:ext uri="{FF2B5EF4-FFF2-40B4-BE49-F238E27FC236}">
                <a16:creationId xmlns:a16="http://schemas.microsoft.com/office/drawing/2014/main" id="{59941348-D0C4-4DC0-9594-B4CA0C8476E8}"/>
              </a:ext>
            </a:extLst>
          </p:cNvPr>
          <p:cNvSpPr/>
          <p:nvPr/>
        </p:nvSpPr>
        <p:spPr>
          <a:xfrm>
            <a:off x="269666"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ustomizable web service that learns to recognize specific content in imagery</a:t>
            </a:r>
          </a:p>
        </p:txBody>
      </p:sp>
      <p:sp>
        <p:nvSpPr>
          <p:cNvPr id="52" name="Rectangle 51">
            <a:extLst>
              <a:ext uri="{FF2B5EF4-FFF2-40B4-BE49-F238E27FC236}">
                <a16:creationId xmlns:a16="http://schemas.microsoft.com/office/drawing/2014/main" id="{A08D3319-250A-42A8-A432-8541170D5C12}"/>
              </a:ext>
            </a:extLst>
          </p:cNvPr>
          <p:cNvSpPr/>
          <p:nvPr/>
        </p:nvSpPr>
        <p:spPr>
          <a:xfrm>
            <a:off x="260204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Fine-tune speech recognition for anyone, anywhere</a:t>
            </a:r>
          </a:p>
        </p:txBody>
      </p:sp>
      <p:sp>
        <p:nvSpPr>
          <p:cNvPr id="53" name="Rectangle 52">
            <a:extLst>
              <a:ext uri="{FF2B5EF4-FFF2-40B4-BE49-F238E27FC236}">
                <a16:creationId xmlns:a16="http://schemas.microsoft.com/office/drawing/2014/main" id="{0E4C40D1-2A64-41D0-8DA6-5BA240BF17B5}"/>
              </a:ext>
            </a:extLst>
          </p:cNvPr>
          <p:cNvSpPr/>
          <p:nvPr/>
        </p:nvSpPr>
        <p:spPr>
          <a:xfrm>
            <a:off x="4934425"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Teach your apps to understand commands from your users</a:t>
            </a:r>
          </a:p>
        </p:txBody>
      </p:sp>
      <p:sp>
        <p:nvSpPr>
          <p:cNvPr id="54" name="Rectangle 53">
            <a:extLst>
              <a:ext uri="{FF2B5EF4-FFF2-40B4-BE49-F238E27FC236}">
                <a16:creationId xmlns:a16="http://schemas.microsoft.com/office/drawing/2014/main" id="{F8208056-B280-4E4A-BC67-BB38162018F1}"/>
              </a:ext>
            </a:extLst>
          </p:cNvPr>
          <p:cNvSpPr/>
          <p:nvPr/>
        </p:nvSpPr>
        <p:spPr>
          <a:xfrm>
            <a:off x="7266804"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custom experiences with adaptive, contextual decision-making</a:t>
            </a:r>
          </a:p>
        </p:txBody>
      </p:sp>
      <p:sp>
        <p:nvSpPr>
          <p:cNvPr id="55" name="Rectangle 54">
            <a:extLst>
              <a:ext uri="{FF2B5EF4-FFF2-40B4-BE49-F238E27FC236}">
                <a16:creationId xmlns:a16="http://schemas.microsoft.com/office/drawing/2014/main" id="{2E9100BB-4048-4640-9686-CD28CA395ADA}"/>
              </a:ext>
            </a:extLst>
          </p:cNvPr>
          <p:cNvSpPr/>
          <p:nvPr/>
        </p:nvSpPr>
        <p:spPr>
          <a:xfrm>
            <a:off x="959918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a highly-customized web search experience</a:t>
            </a:r>
          </a:p>
        </p:txBody>
      </p:sp>
      <p:grpSp>
        <p:nvGrpSpPr>
          <p:cNvPr id="8" name="Group 7">
            <a:extLst>
              <a:ext uri="{FF2B5EF4-FFF2-40B4-BE49-F238E27FC236}">
                <a16:creationId xmlns:a16="http://schemas.microsoft.com/office/drawing/2014/main" id="{1E548A72-D609-4BAA-B13B-85FF165B94AF}"/>
              </a:ext>
            </a:extLst>
          </p:cNvPr>
          <p:cNvGrpSpPr/>
          <p:nvPr/>
        </p:nvGrpSpPr>
        <p:grpSpPr>
          <a:xfrm>
            <a:off x="270068" y="1454819"/>
            <a:ext cx="1927040" cy="1517794"/>
            <a:chOff x="270068" y="-1773005"/>
            <a:chExt cx="1927040" cy="1517794"/>
          </a:xfrm>
        </p:grpSpPr>
        <p:grpSp>
          <p:nvGrpSpPr>
            <p:cNvPr id="87" name="Group 86">
              <a:extLst>
                <a:ext uri="{FF2B5EF4-FFF2-40B4-BE49-F238E27FC236}">
                  <a16:creationId xmlns:a16="http://schemas.microsoft.com/office/drawing/2014/main" id="{87C00B98-E53D-4B4B-B174-9FB3F10D207B}"/>
                </a:ext>
              </a:extLst>
            </p:cNvPr>
            <p:cNvGrpSpPr/>
            <p:nvPr/>
          </p:nvGrpSpPr>
          <p:grpSpPr>
            <a:xfrm>
              <a:off x="695042" y="-1773005"/>
              <a:ext cx="1075710" cy="1075710"/>
              <a:chOff x="1635346" y="1767983"/>
              <a:chExt cx="1287898" cy="1287898"/>
            </a:xfrm>
          </p:grpSpPr>
          <p:sp>
            <p:nvSpPr>
              <p:cNvPr id="104" name="Oval 103">
                <a:extLst>
                  <a:ext uri="{FF2B5EF4-FFF2-40B4-BE49-F238E27FC236}">
                    <a16:creationId xmlns:a16="http://schemas.microsoft.com/office/drawing/2014/main" id="{DEF98B8E-23F4-4104-8A23-C4495243160F}"/>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5" name="Picture 104">
                <a:extLst>
                  <a:ext uri="{FF2B5EF4-FFF2-40B4-BE49-F238E27FC236}">
                    <a16:creationId xmlns:a16="http://schemas.microsoft.com/office/drawing/2014/main" id="{9F23CFBF-B96D-4EDE-BF49-D49E0E3F2D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sp>
          <p:nvSpPr>
            <p:cNvPr id="58" name="TextBox 57">
              <a:extLst>
                <a:ext uri="{FF2B5EF4-FFF2-40B4-BE49-F238E27FC236}">
                  <a16:creationId xmlns:a16="http://schemas.microsoft.com/office/drawing/2014/main" id="{ABD61408-0664-427A-AAEE-621C92E79303}"/>
                </a:ext>
              </a:extLst>
            </p:cNvPr>
            <p:cNvSpPr txBox="1"/>
            <p:nvPr/>
          </p:nvSpPr>
          <p:spPr>
            <a:xfrm>
              <a:off x="270068" y="-8162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grpSp>
      <p:grpSp>
        <p:nvGrpSpPr>
          <p:cNvPr id="9" name="Group 8">
            <a:extLst>
              <a:ext uri="{FF2B5EF4-FFF2-40B4-BE49-F238E27FC236}">
                <a16:creationId xmlns:a16="http://schemas.microsoft.com/office/drawing/2014/main" id="{8A565772-6448-4E89-A061-5D62D263BC8C}"/>
              </a:ext>
            </a:extLst>
          </p:cNvPr>
          <p:cNvGrpSpPr/>
          <p:nvPr/>
        </p:nvGrpSpPr>
        <p:grpSpPr>
          <a:xfrm>
            <a:off x="2215498" y="1454819"/>
            <a:ext cx="1927040" cy="1522295"/>
            <a:chOff x="2215498" y="-1773006"/>
            <a:chExt cx="1927040" cy="1522295"/>
          </a:xfrm>
        </p:grpSpPr>
        <p:grpSp>
          <p:nvGrpSpPr>
            <p:cNvPr id="88" name="Group 87">
              <a:extLst>
                <a:ext uri="{FF2B5EF4-FFF2-40B4-BE49-F238E27FC236}">
                  <a16:creationId xmlns:a16="http://schemas.microsoft.com/office/drawing/2014/main" id="{34AC3236-9F52-49CB-85E2-514635976F43}"/>
                </a:ext>
              </a:extLst>
            </p:cNvPr>
            <p:cNvGrpSpPr/>
            <p:nvPr/>
          </p:nvGrpSpPr>
          <p:grpSpPr>
            <a:xfrm>
              <a:off x="2640748" y="-1773006"/>
              <a:ext cx="1075710" cy="1075710"/>
              <a:chOff x="1920558" y="3040063"/>
              <a:chExt cx="1097280" cy="1097280"/>
            </a:xfrm>
          </p:grpSpPr>
          <p:sp>
            <p:nvSpPr>
              <p:cNvPr id="102" name="Oval 101">
                <a:extLst>
                  <a:ext uri="{FF2B5EF4-FFF2-40B4-BE49-F238E27FC236}">
                    <a16:creationId xmlns:a16="http://schemas.microsoft.com/office/drawing/2014/main" id="{3FEB7F0D-E401-498E-BDE3-90246147D734}"/>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4AEEB1C9-56ED-43D3-8DAF-CDF4692523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sp>
          <p:nvSpPr>
            <p:cNvPr id="63" name="TextBox 62">
              <a:extLst>
                <a:ext uri="{FF2B5EF4-FFF2-40B4-BE49-F238E27FC236}">
                  <a16:creationId xmlns:a16="http://schemas.microsoft.com/office/drawing/2014/main" id="{DE5C8F30-6C5B-4BE9-98B8-830D95BC3162}"/>
                </a:ext>
              </a:extLst>
            </p:cNvPr>
            <p:cNvSpPr txBox="1"/>
            <p:nvPr/>
          </p:nvSpPr>
          <p:spPr>
            <a:xfrm>
              <a:off x="2215498" y="-811762"/>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grpSp>
      <p:grpSp>
        <p:nvGrpSpPr>
          <p:cNvPr id="11" name="Group 10">
            <a:extLst>
              <a:ext uri="{FF2B5EF4-FFF2-40B4-BE49-F238E27FC236}">
                <a16:creationId xmlns:a16="http://schemas.microsoft.com/office/drawing/2014/main" id="{43F5793F-ECF9-49F5-B008-590F8FB43880}"/>
              </a:ext>
            </a:extLst>
          </p:cNvPr>
          <p:cNvGrpSpPr/>
          <p:nvPr/>
        </p:nvGrpSpPr>
        <p:grpSpPr>
          <a:xfrm>
            <a:off x="6106357" y="1454819"/>
            <a:ext cx="1927040" cy="1522295"/>
            <a:chOff x="6106357" y="-1773006"/>
            <a:chExt cx="1927040" cy="1522295"/>
          </a:xfrm>
        </p:grpSpPr>
        <p:grpSp>
          <p:nvGrpSpPr>
            <p:cNvPr id="91" name="Group 90">
              <a:extLst>
                <a:ext uri="{FF2B5EF4-FFF2-40B4-BE49-F238E27FC236}">
                  <a16:creationId xmlns:a16="http://schemas.microsoft.com/office/drawing/2014/main" id="{5C696500-42C5-481E-98B7-2610EB9B51C7}"/>
                </a:ext>
              </a:extLst>
            </p:cNvPr>
            <p:cNvGrpSpPr/>
            <p:nvPr/>
          </p:nvGrpSpPr>
          <p:grpSpPr>
            <a:xfrm>
              <a:off x="6532159" y="-1773006"/>
              <a:ext cx="1075710" cy="1075710"/>
              <a:chOff x="6663142" y="2934576"/>
              <a:chExt cx="1097280" cy="1097280"/>
            </a:xfrm>
          </p:grpSpPr>
          <p:sp>
            <p:nvSpPr>
              <p:cNvPr id="98" name="Oval 97">
                <a:extLst>
                  <a:ext uri="{FF2B5EF4-FFF2-40B4-BE49-F238E27FC236}">
                    <a16:creationId xmlns:a16="http://schemas.microsoft.com/office/drawing/2014/main" id="{73BC3A46-94EF-4748-B9BE-FEDACF0CFFE9}"/>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9" name="Picture 98">
                <a:extLst>
                  <a:ext uri="{FF2B5EF4-FFF2-40B4-BE49-F238E27FC236}">
                    <a16:creationId xmlns:a16="http://schemas.microsoft.com/office/drawing/2014/main" id="{369D7877-5B2B-41D5-B9AD-DDCF9C5220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sp>
          <p:nvSpPr>
            <p:cNvPr id="68" name="TextBox 67">
              <a:extLst>
                <a:ext uri="{FF2B5EF4-FFF2-40B4-BE49-F238E27FC236}">
                  <a16:creationId xmlns:a16="http://schemas.microsoft.com/office/drawing/2014/main" id="{CFA060CD-4B9C-4666-95B2-AFCCB64B9B25}"/>
                </a:ext>
              </a:extLst>
            </p:cNvPr>
            <p:cNvSpPr txBox="1"/>
            <p:nvPr/>
          </p:nvSpPr>
          <p:spPr>
            <a:xfrm>
              <a:off x="610635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grpSp>
      <p:grpSp>
        <p:nvGrpSpPr>
          <p:cNvPr id="10" name="Group 9">
            <a:extLst>
              <a:ext uri="{FF2B5EF4-FFF2-40B4-BE49-F238E27FC236}">
                <a16:creationId xmlns:a16="http://schemas.microsoft.com/office/drawing/2014/main" id="{241A009C-38FA-4320-9DB9-484B2938C780}"/>
              </a:ext>
            </a:extLst>
          </p:cNvPr>
          <p:cNvGrpSpPr/>
          <p:nvPr/>
        </p:nvGrpSpPr>
        <p:grpSpPr>
          <a:xfrm>
            <a:off x="4160927" y="1454819"/>
            <a:ext cx="1927040" cy="1522295"/>
            <a:chOff x="4160927" y="-1773006"/>
            <a:chExt cx="1927040" cy="1522295"/>
          </a:xfrm>
        </p:grpSpPr>
        <p:grpSp>
          <p:nvGrpSpPr>
            <p:cNvPr id="90" name="Group 89">
              <a:extLst>
                <a:ext uri="{FF2B5EF4-FFF2-40B4-BE49-F238E27FC236}">
                  <a16:creationId xmlns:a16="http://schemas.microsoft.com/office/drawing/2014/main" id="{BF089A33-5CCF-4A8F-B35F-F8D3F8C1D091}"/>
                </a:ext>
              </a:extLst>
            </p:cNvPr>
            <p:cNvGrpSpPr/>
            <p:nvPr/>
          </p:nvGrpSpPr>
          <p:grpSpPr>
            <a:xfrm>
              <a:off x="4586453" y="-1773006"/>
              <a:ext cx="1075710" cy="1075710"/>
              <a:chOff x="4678421" y="2934576"/>
              <a:chExt cx="1097280" cy="1097280"/>
            </a:xfrm>
          </p:grpSpPr>
          <p:sp>
            <p:nvSpPr>
              <p:cNvPr id="100" name="Oval 99">
                <a:extLst>
                  <a:ext uri="{FF2B5EF4-FFF2-40B4-BE49-F238E27FC236}">
                    <a16:creationId xmlns:a16="http://schemas.microsoft.com/office/drawing/2014/main" id="{EEAF1582-252D-4D86-9DEA-4585D6CF4AC7}"/>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1" name="Picture 100">
                <a:extLst>
                  <a:ext uri="{FF2B5EF4-FFF2-40B4-BE49-F238E27FC236}">
                    <a16:creationId xmlns:a16="http://schemas.microsoft.com/office/drawing/2014/main" id="{3F363D6C-9A5B-40B4-AD63-0AD7A822FA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sp>
          <p:nvSpPr>
            <p:cNvPr id="73" name="TextBox 72">
              <a:extLst>
                <a:ext uri="{FF2B5EF4-FFF2-40B4-BE49-F238E27FC236}">
                  <a16:creationId xmlns:a16="http://schemas.microsoft.com/office/drawing/2014/main" id="{FA17588C-216D-4307-85D1-AC14113932BF}"/>
                </a:ext>
              </a:extLst>
            </p:cNvPr>
            <p:cNvSpPr txBox="1"/>
            <p:nvPr/>
          </p:nvSpPr>
          <p:spPr>
            <a:xfrm>
              <a:off x="416092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grpSp>
      <p:grpSp>
        <p:nvGrpSpPr>
          <p:cNvPr id="13" name="Group 12">
            <a:extLst>
              <a:ext uri="{FF2B5EF4-FFF2-40B4-BE49-F238E27FC236}">
                <a16:creationId xmlns:a16="http://schemas.microsoft.com/office/drawing/2014/main" id="{127B3E87-D3EF-4E2E-96D1-F717104950B9}"/>
              </a:ext>
            </a:extLst>
          </p:cNvPr>
          <p:cNvGrpSpPr/>
          <p:nvPr/>
        </p:nvGrpSpPr>
        <p:grpSpPr>
          <a:xfrm>
            <a:off x="9997214" y="1454819"/>
            <a:ext cx="1927040" cy="1522295"/>
            <a:chOff x="9997214" y="-1773006"/>
            <a:chExt cx="1927040" cy="1522295"/>
          </a:xfrm>
        </p:grpSpPr>
        <p:grpSp>
          <p:nvGrpSpPr>
            <p:cNvPr id="93" name="Group 92">
              <a:extLst>
                <a:ext uri="{FF2B5EF4-FFF2-40B4-BE49-F238E27FC236}">
                  <a16:creationId xmlns:a16="http://schemas.microsoft.com/office/drawing/2014/main" id="{E92BF88A-3C93-4A94-8D69-4454377A0569}"/>
                </a:ext>
              </a:extLst>
            </p:cNvPr>
            <p:cNvGrpSpPr/>
            <p:nvPr/>
          </p:nvGrpSpPr>
          <p:grpSpPr>
            <a:xfrm>
              <a:off x="10423569" y="-1773006"/>
              <a:ext cx="1075710" cy="1075710"/>
              <a:chOff x="10632583" y="2934576"/>
              <a:chExt cx="1097280" cy="1097280"/>
            </a:xfrm>
          </p:grpSpPr>
          <p:sp>
            <p:nvSpPr>
              <p:cNvPr id="94" name="Oval 93">
                <a:extLst>
                  <a:ext uri="{FF2B5EF4-FFF2-40B4-BE49-F238E27FC236}">
                    <a16:creationId xmlns:a16="http://schemas.microsoft.com/office/drawing/2014/main" id="{C3493EDB-8294-4EDF-AE3C-A754BF5A52FC}"/>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5" name="Picture 94">
                <a:extLst>
                  <a:ext uri="{FF2B5EF4-FFF2-40B4-BE49-F238E27FC236}">
                    <a16:creationId xmlns:a16="http://schemas.microsoft.com/office/drawing/2014/main" id="{7C8AAC70-0263-476D-A14B-C43BF41F4F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
          <p:nvSpPr>
            <p:cNvPr id="78" name="TextBox 77">
              <a:extLst>
                <a:ext uri="{FF2B5EF4-FFF2-40B4-BE49-F238E27FC236}">
                  <a16:creationId xmlns:a16="http://schemas.microsoft.com/office/drawing/2014/main" id="{F44B1447-91C5-4448-9E05-399EE4696018}"/>
                </a:ext>
              </a:extLst>
            </p:cNvPr>
            <p:cNvSpPr txBox="1"/>
            <p:nvPr/>
          </p:nvSpPr>
          <p:spPr>
            <a:xfrm>
              <a:off x="9997214"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grpSp>
      <p:grpSp>
        <p:nvGrpSpPr>
          <p:cNvPr id="12" name="Group 11">
            <a:extLst>
              <a:ext uri="{FF2B5EF4-FFF2-40B4-BE49-F238E27FC236}">
                <a16:creationId xmlns:a16="http://schemas.microsoft.com/office/drawing/2014/main" id="{5B3E6DAF-25AD-49E2-8388-0C531E061217}"/>
              </a:ext>
            </a:extLst>
          </p:cNvPr>
          <p:cNvGrpSpPr/>
          <p:nvPr/>
        </p:nvGrpSpPr>
        <p:grpSpPr>
          <a:xfrm>
            <a:off x="8051787" y="1454819"/>
            <a:ext cx="1927040" cy="1522295"/>
            <a:chOff x="8051787" y="-1773006"/>
            <a:chExt cx="1927040" cy="1522295"/>
          </a:xfrm>
        </p:grpSpPr>
        <p:grpSp>
          <p:nvGrpSpPr>
            <p:cNvPr id="92" name="Group 91">
              <a:extLst>
                <a:ext uri="{FF2B5EF4-FFF2-40B4-BE49-F238E27FC236}">
                  <a16:creationId xmlns:a16="http://schemas.microsoft.com/office/drawing/2014/main" id="{9E2B39F0-F320-4515-8BDB-C024FB3165A6}"/>
                </a:ext>
              </a:extLst>
            </p:cNvPr>
            <p:cNvGrpSpPr/>
            <p:nvPr/>
          </p:nvGrpSpPr>
          <p:grpSpPr>
            <a:xfrm>
              <a:off x="8482009" y="-1773006"/>
              <a:ext cx="1075710" cy="1075710"/>
              <a:chOff x="8652091" y="2934576"/>
              <a:chExt cx="1097280" cy="1097280"/>
            </a:xfrm>
          </p:grpSpPr>
          <p:sp>
            <p:nvSpPr>
              <p:cNvPr id="96" name="Oval 95">
                <a:extLst>
                  <a:ext uri="{FF2B5EF4-FFF2-40B4-BE49-F238E27FC236}">
                    <a16:creationId xmlns:a16="http://schemas.microsoft.com/office/drawing/2014/main" id="{542E44BA-9109-4F5C-9A96-230FF0E96345}"/>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7" name="Picture 96">
                <a:extLst>
                  <a:ext uri="{FF2B5EF4-FFF2-40B4-BE49-F238E27FC236}">
                    <a16:creationId xmlns:a16="http://schemas.microsoft.com/office/drawing/2014/main" id="{E528D6E3-3627-46FE-9D9E-3E17DD3791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sp>
          <p:nvSpPr>
            <p:cNvPr id="83" name="TextBox 82">
              <a:extLst>
                <a:ext uri="{FF2B5EF4-FFF2-40B4-BE49-F238E27FC236}">
                  <a16:creationId xmlns:a16="http://schemas.microsoft.com/office/drawing/2014/main" id="{74351253-0A2E-4E7D-9D4B-8CDC0119E9FF}"/>
                </a:ext>
              </a:extLst>
            </p:cNvPr>
            <p:cNvSpPr txBox="1"/>
            <p:nvPr/>
          </p:nvSpPr>
          <p:spPr>
            <a:xfrm>
              <a:off x="805178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sp>
        <p:nvSpPr>
          <p:cNvPr id="89" name="Rectangle 88">
            <a:extLst>
              <a:ext uri="{FF2B5EF4-FFF2-40B4-BE49-F238E27FC236}">
                <a16:creationId xmlns:a16="http://schemas.microsoft.com/office/drawing/2014/main" id="{7035E8ED-3036-48CA-A969-0431584C68E0}"/>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Customization</a:t>
            </a:r>
          </a:p>
        </p:txBody>
      </p:sp>
      <p:sp>
        <p:nvSpPr>
          <p:cNvPr id="5" name="Title 4">
            <a:extLst>
              <a:ext uri="{FF2B5EF4-FFF2-40B4-BE49-F238E27FC236}">
                <a16:creationId xmlns:a16="http://schemas.microsoft.com/office/drawing/2014/main" id="{7D469F14-82D0-475E-B075-ECEB17918C3C}"/>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02230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66667E-6 3.33333E-6 L 0.1543 0.12199 " pathEditMode="relative" rAng="0" ptsTypes="AA">
                                      <p:cBhvr>
                                        <p:cTn id="6" dur="500" fill="hold"/>
                                        <p:tgtEl>
                                          <p:spTgt spid="13"/>
                                        </p:tgtEl>
                                        <p:attrNameLst>
                                          <p:attrName>ppt_x</p:attrName>
                                          <p:attrName>ppt_y</p:attrName>
                                        </p:attrNameLst>
                                      </p:cBhvr>
                                      <p:rCtr x="7708" y="6088"/>
                                    </p:animMotion>
                                  </p:childTnLst>
                                </p:cTn>
                              </p:par>
                              <p:par>
                                <p:cTn id="7" presetID="42" presetClass="path" presetSubtype="0" accel="50000" decel="50000" fill="hold" nodeType="withEffect">
                                  <p:stCondLst>
                                    <p:cond delay="0"/>
                                  </p:stCondLst>
                                  <p:childTnLst>
                                    <p:animMotion origin="layout" path="M -3.125E-6 3.33333E-6 L 0.1444 0.12199 " pathEditMode="relative" rAng="0" ptsTypes="AA">
                                      <p:cBhvr>
                                        <p:cTn id="8" dur="500" fill="hold"/>
                                        <p:tgtEl>
                                          <p:spTgt spid="12"/>
                                        </p:tgtEl>
                                        <p:attrNameLst>
                                          <p:attrName>ppt_x</p:attrName>
                                          <p:attrName>ppt_y</p:attrName>
                                        </p:attrNameLst>
                                      </p:cBhvr>
                                      <p:rCtr x="7214" y="6088"/>
                                    </p:animMotion>
                                  </p:childTnLst>
                                </p:cTn>
                              </p:par>
                              <p:par>
                                <p:cTn id="9" presetID="42" presetClass="path" presetSubtype="0" accel="50000" decel="50000" fill="hold" nodeType="withEffect">
                                  <p:stCondLst>
                                    <p:cond delay="0"/>
                                  </p:stCondLst>
                                  <p:childTnLst>
                                    <p:animMotion origin="layout" path="M 2.29167E-6 3.33333E-6 L 0.11302 0.12199 " pathEditMode="relative" rAng="0" ptsTypes="AA">
                                      <p:cBhvr>
                                        <p:cTn id="10" dur="500" fill="hold"/>
                                        <p:tgtEl>
                                          <p:spTgt spid="11"/>
                                        </p:tgtEl>
                                        <p:attrNameLst>
                                          <p:attrName>ppt_x</p:attrName>
                                          <p:attrName>ppt_y</p:attrName>
                                        </p:attrNameLst>
                                      </p:cBhvr>
                                      <p:rCtr x="5651" y="6088"/>
                                    </p:animMotion>
                                  </p:childTnLst>
                                </p:cTn>
                              </p:par>
                              <p:par>
                                <p:cTn id="11" presetID="42" presetClass="path" presetSubtype="0" accel="50000" decel="50000" fill="hold" nodeType="withEffect">
                                  <p:stCondLst>
                                    <p:cond delay="0"/>
                                  </p:stCondLst>
                                  <p:childTnLst>
                                    <p:animMotion origin="layout" path="M -2.5E-6 3.33333E-6 L 0.08073 0.12199 " pathEditMode="relative" rAng="0" ptsTypes="AA">
                                      <p:cBhvr>
                                        <p:cTn id="12" dur="500" fill="hold"/>
                                        <p:tgtEl>
                                          <p:spTgt spid="10"/>
                                        </p:tgtEl>
                                        <p:attrNameLst>
                                          <p:attrName>ppt_x</p:attrName>
                                          <p:attrName>ppt_y</p:attrName>
                                        </p:attrNameLst>
                                      </p:cBhvr>
                                      <p:rCtr x="4036" y="6088"/>
                                    </p:animMotion>
                                  </p:childTnLst>
                                </p:cTn>
                              </p:par>
                              <p:par>
                                <p:cTn id="13" presetID="42" presetClass="path" presetSubtype="0" accel="50000" decel="50000" fill="hold" nodeType="withEffect">
                                  <p:stCondLst>
                                    <p:cond delay="0"/>
                                  </p:stCondLst>
                                  <p:childTnLst>
                                    <p:animMotion origin="layout" path="M 2.91667E-6 3.33333E-6 L 0.04883 0.12199 " pathEditMode="relative" rAng="0" ptsTypes="AA">
                                      <p:cBhvr>
                                        <p:cTn id="14" dur="500" fill="hold"/>
                                        <p:tgtEl>
                                          <p:spTgt spid="9"/>
                                        </p:tgtEl>
                                        <p:attrNameLst>
                                          <p:attrName>ppt_x</p:attrName>
                                          <p:attrName>ppt_y</p:attrName>
                                        </p:attrNameLst>
                                      </p:cBhvr>
                                      <p:rCtr x="2435" y="6088"/>
                                    </p:animMotion>
                                  </p:childTnLst>
                                </p:cTn>
                              </p:par>
                              <p:par>
                                <p:cTn id="15" presetID="42" presetClass="path" presetSubtype="0" accel="50000" decel="50000" fill="hold" nodeType="withEffect">
                                  <p:stCondLst>
                                    <p:cond delay="0"/>
                                  </p:stCondLst>
                                  <p:childTnLst>
                                    <p:animMotion origin="layout" path="M -1.875E-6 4.81481E-6 L 0.01823 0.12199 " pathEditMode="relative" rAng="0" ptsTypes="AA">
                                      <p:cBhvr>
                                        <p:cTn id="16" dur="500" fill="hold"/>
                                        <p:tgtEl>
                                          <p:spTgt spid="8"/>
                                        </p:tgtEl>
                                        <p:attrNameLst>
                                          <p:attrName>ppt_x</p:attrName>
                                          <p:attrName>ppt_y</p:attrName>
                                        </p:attrNameLst>
                                      </p:cBhvr>
                                      <p:rCtr x="911" y="6088"/>
                                    </p:animMotion>
                                  </p:childTnLst>
                                </p:cTn>
                              </p:par>
                            </p:childTnLst>
                          </p:cTn>
                        </p:par>
                        <p:par>
                          <p:cTn id="17" fill="hold">
                            <p:stCondLst>
                              <p:cond delay="500"/>
                            </p:stCondLst>
                            <p:childTnLst>
                              <p:par>
                                <p:cTn id="18" presetID="42" presetClass="path" presetSubtype="0" accel="50000" decel="50000" fill="hold" nodeType="afterEffect">
                                  <p:stCondLst>
                                    <p:cond delay="0"/>
                                  </p:stCondLst>
                                  <p:childTnLst>
                                    <p:animMotion origin="layout" path="M -1.25E-6 4.07407E-6 L -1.25E-6 0.11944 " pathEditMode="relative" rAng="0" ptsTypes="AA">
                                      <p:cBhvr>
                                        <p:cTn id="19" dur="500" fill="hold"/>
                                        <p:tgtEl>
                                          <p:spTgt spid="14"/>
                                        </p:tgtEl>
                                        <p:attrNameLst>
                                          <p:attrName>ppt_x</p:attrName>
                                          <p:attrName>ppt_y</p:attrName>
                                        </p:attrNameLst>
                                      </p:cBhvr>
                                      <p:rCtr x="0" y="5972"/>
                                    </p:animMotion>
                                  </p:childTnLst>
                                </p:cTn>
                              </p:par>
                              <p:par>
                                <p:cTn id="20" presetID="10" presetClass="entr" presetSubtype="0" fill="hold" grpId="0" nodeType="withEffect">
                                  <p:stCondLst>
                                    <p:cond delay="2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35" presetClass="path" presetSubtype="0" decel="100000" fill="hold" grpId="1" nodeType="withEffect">
                                  <p:stCondLst>
                                    <p:cond delay="200"/>
                                  </p:stCondLst>
                                  <p:childTnLst>
                                    <p:animMotion origin="layout" path="M 0 7.40741E-7 L -0.04284 7.40741E-7 " pathEditMode="relative" rAng="0" ptsTypes="AA">
                                      <p:cBhvr>
                                        <p:cTn id="24" dur="500" spd="-100000" fill="hold"/>
                                        <p:tgtEl>
                                          <p:spTgt spid="2"/>
                                        </p:tgtEl>
                                        <p:attrNameLst>
                                          <p:attrName>ppt_x</p:attrName>
                                          <p:attrName>ppt_y</p:attrName>
                                        </p:attrNameLst>
                                      </p:cBhvr>
                                      <p:rCtr x="-2148" y="0"/>
                                    </p:animMotion>
                                  </p:childTnLst>
                                </p:cTn>
                              </p:par>
                              <p:par>
                                <p:cTn id="25" presetID="64" presetClass="path" presetSubtype="0" accel="50000" decel="50000" fill="hold" grpId="0" nodeType="withEffect">
                                  <p:stCondLst>
                                    <p:cond delay="200"/>
                                  </p:stCondLst>
                                  <p:childTnLst>
                                    <p:animMotion origin="layout" path="M -5.94843E-7 7.44439E-7 L -5.94843E-7 -0.33364 " pathEditMode="relative" rAng="0" ptsTypes="AA">
                                      <p:cBhvr>
                                        <p:cTn id="26" dur="700" fill="hold"/>
                                        <p:tgtEl>
                                          <p:spTgt spid="147"/>
                                        </p:tgtEl>
                                        <p:attrNameLst>
                                          <p:attrName>ppt_x</p:attrName>
                                          <p:attrName>ppt_y</p:attrName>
                                        </p:attrNameLst>
                                      </p:cBhvr>
                                      <p:rCtr x="0" y="-16682"/>
                                    </p:animMotion>
                                  </p:childTnLst>
                                </p:cTn>
                              </p:par>
                              <p:par>
                                <p:cTn id="27" presetID="64" presetClass="path" presetSubtype="0" accel="50000" decel="50000" fill="hold" grpId="0" nodeType="withEffect">
                                  <p:stCondLst>
                                    <p:cond delay="400"/>
                                  </p:stCondLst>
                                  <p:childTnLst>
                                    <p:animMotion origin="layout" path="M 4.64641E-7 -1.40717E-7 L 0.01915 -0.3207 " pathEditMode="relative" rAng="0" ptsTypes="AA">
                                      <p:cBhvr>
                                        <p:cTn id="28" dur="700" fill="hold"/>
                                        <p:tgtEl>
                                          <p:spTgt spid="148"/>
                                        </p:tgtEl>
                                        <p:attrNameLst>
                                          <p:attrName>ppt_x</p:attrName>
                                          <p:attrName>ppt_y</p:attrName>
                                        </p:attrNameLst>
                                      </p:cBhvr>
                                      <p:rCtr x="957" y="-16046"/>
                                    </p:animMotion>
                                  </p:childTnLst>
                                </p:cTn>
                              </p:par>
                              <p:par>
                                <p:cTn id="29" presetID="64" presetClass="path" presetSubtype="0" accel="50000" decel="50000" fill="hold" grpId="0" nodeType="withEffect">
                                  <p:stCondLst>
                                    <p:cond delay="400"/>
                                  </p:stCondLst>
                                  <p:childTnLst>
                                    <p:animMotion origin="layout" path="M -4.55961E-6 -1.40717E-7 L 0.05055 -0.30617 " pathEditMode="relative" rAng="0" ptsTypes="AA">
                                      <p:cBhvr>
                                        <p:cTn id="30" dur="700" fill="hold"/>
                                        <p:tgtEl>
                                          <p:spTgt spid="149"/>
                                        </p:tgtEl>
                                        <p:attrNameLst>
                                          <p:attrName>ppt_x</p:attrName>
                                          <p:attrName>ppt_y</p:attrName>
                                        </p:attrNameLst>
                                      </p:cBhvr>
                                      <p:rCtr x="2527" y="-15320"/>
                                    </p:animMotion>
                                  </p:childTnLst>
                                </p:cTn>
                              </p:par>
                              <p:par>
                                <p:cTn id="31" presetID="64" presetClass="path" presetSubtype="0" accel="50000" decel="50000" fill="hold" grpId="0" nodeType="withEffect">
                                  <p:stCondLst>
                                    <p:cond delay="400"/>
                                  </p:stCondLst>
                                  <p:childTnLst>
                                    <p:animMotion origin="layout" path="M -4.25836E-6 -1.40717E-7 L 0.08093 -0.30617 " pathEditMode="relative" rAng="0" ptsTypes="AA">
                                      <p:cBhvr>
                                        <p:cTn id="32" dur="700" fill="hold"/>
                                        <p:tgtEl>
                                          <p:spTgt spid="150"/>
                                        </p:tgtEl>
                                        <p:attrNameLst>
                                          <p:attrName>ppt_x</p:attrName>
                                          <p:attrName>ppt_y</p:attrName>
                                        </p:attrNameLst>
                                      </p:cBhvr>
                                      <p:rCtr x="4046" y="-15320"/>
                                    </p:animMotion>
                                  </p:childTnLst>
                                </p:cTn>
                              </p:par>
                              <p:par>
                                <p:cTn id="33" presetID="64" presetClass="path" presetSubtype="0" accel="50000" decel="50000" fill="hold" grpId="0" nodeType="withEffect">
                                  <p:stCondLst>
                                    <p:cond delay="400"/>
                                  </p:stCondLst>
                                  <p:childTnLst>
                                    <p:animMotion origin="layout" path="M -4.44218E-7 -1.40717E-7 L 0.11591 -0.30617 " pathEditMode="relative" rAng="0" ptsTypes="AA">
                                      <p:cBhvr>
                                        <p:cTn id="34" dur="700" fill="hold"/>
                                        <p:tgtEl>
                                          <p:spTgt spid="151"/>
                                        </p:tgtEl>
                                        <p:attrNameLst>
                                          <p:attrName>ppt_x</p:attrName>
                                          <p:attrName>ppt_y</p:attrName>
                                        </p:attrNameLst>
                                      </p:cBhvr>
                                      <p:rCtr x="5795" y="-15320"/>
                                    </p:animMotion>
                                  </p:childTnLst>
                                </p:cTn>
                              </p:par>
                              <p:par>
                                <p:cTn id="35" presetID="64" presetClass="path" presetSubtype="0" accel="50000" decel="50000" fill="hold" grpId="0" nodeType="withEffect">
                                  <p:stCondLst>
                                    <p:cond delay="400"/>
                                  </p:stCondLst>
                                  <p:childTnLst>
                                    <p:animMotion origin="layout" path="M -1.33265E-6 -1.40717E-7 L 0.14297 -0.30617 " pathEditMode="relative" rAng="0" ptsTypes="AA">
                                      <p:cBhvr>
                                        <p:cTn id="36" dur="700" fill="hold"/>
                                        <p:tgtEl>
                                          <p:spTgt spid="152"/>
                                        </p:tgtEl>
                                        <p:attrNameLst>
                                          <p:attrName>ppt_x</p:attrName>
                                          <p:attrName>ppt_y</p:attrName>
                                        </p:attrNameLst>
                                      </p:cBhvr>
                                      <p:rCtr x="7148" y="-15320"/>
                                    </p:animMotion>
                                  </p:childTnLst>
                                </p:cTn>
                              </p:par>
                              <p:par>
                                <p:cTn id="37" presetID="10" presetClass="entr" presetSubtype="0" fill="hold" grpId="0" nodeType="withEffect">
                                  <p:stCondLst>
                                    <p:cond delay="120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35" presetClass="path" presetSubtype="0" decel="100000" fill="hold" grpId="1" nodeType="withEffect">
                                  <p:stCondLst>
                                    <p:cond delay="1200"/>
                                  </p:stCondLst>
                                  <p:childTnLst>
                                    <p:animMotion origin="layout" path="M 4.94256E-6 4.00363E-6 L 4.94256E-6 0.0261 " pathEditMode="relative" rAng="0" ptsTypes="AA">
                                      <p:cBhvr>
                                        <p:cTn id="41" dur="500" spd="-100000" fill="hold"/>
                                        <p:tgtEl>
                                          <p:spTgt spid="50"/>
                                        </p:tgtEl>
                                        <p:attrNameLst>
                                          <p:attrName>ppt_x</p:attrName>
                                          <p:attrName>ppt_y</p:attrName>
                                        </p:attrNameLst>
                                      </p:cBhvr>
                                      <p:rCtr x="0" y="1294"/>
                                    </p:animMotion>
                                  </p:childTnLst>
                                </p:cTn>
                              </p:par>
                              <p:par>
                                <p:cTn id="42" presetID="10" presetClass="entr" presetSubtype="0" fill="hold" grpId="0" nodeType="withEffect">
                                  <p:stCondLst>
                                    <p:cond delay="120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par>
                                <p:cTn id="45" presetID="35" presetClass="path" presetSubtype="0" decel="100000" fill="hold" grpId="1" nodeType="withEffect">
                                  <p:stCondLst>
                                    <p:cond delay="1200"/>
                                  </p:stCondLst>
                                  <p:childTnLst>
                                    <p:animMotion origin="layout" path="M -4.74853E-7 4.98865E-6 L -4.74853E-7 0.0261 " pathEditMode="relative" rAng="0" ptsTypes="AA">
                                      <p:cBhvr>
                                        <p:cTn id="46" dur="500" spd="-100000" fill="hold"/>
                                        <p:tgtEl>
                                          <p:spTgt spid="52"/>
                                        </p:tgtEl>
                                        <p:attrNameLst>
                                          <p:attrName>ppt_x</p:attrName>
                                          <p:attrName>ppt_y</p:attrName>
                                        </p:attrNameLst>
                                      </p:cBhvr>
                                      <p:rCtr x="0" y="1294"/>
                                    </p:animMotion>
                                  </p:childTnLst>
                                </p:cTn>
                              </p:par>
                              <p:par>
                                <p:cTn id="47" presetID="10" presetClass="entr" presetSubtype="0" fill="hold" grpId="0" nodeType="withEffect">
                                  <p:stCondLst>
                                    <p:cond delay="12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35" presetClass="path" presetSubtype="0" decel="100000" fill="hold" grpId="1" nodeType="withEffect">
                                  <p:stCondLst>
                                    <p:cond delay="1200"/>
                                  </p:stCondLst>
                                  <p:childTnLst>
                                    <p:animMotion origin="layout" path="M 4.10774E-6 4.00363E-6 L 4.10774E-6 0.0261 " pathEditMode="relative" rAng="0" ptsTypes="AA">
                                      <p:cBhvr>
                                        <p:cTn id="51" dur="500" spd="-100000" fill="hold"/>
                                        <p:tgtEl>
                                          <p:spTgt spid="53"/>
                                        </p:tgtEl>
                                        <p:attrNameLst>
                                          <p:attrName>ppt_x</p:attrName>
                                          <p:attrName>ppt_y</p:attrName>
                                        </p:attrNameLst>
                                      </p:cBhvr>
                                      <p:rCtr x="0" y="1294"/>
                                    </p:animMotion>
                                  </p:childTnLst>
                                </p:cTn>
                              </p:par>
                              <p:par>
                                <p:cTn id="52" presetID="10" presetClass="entr" presetSubtype="0" fill="hold" grpId="0" nodeType="withEffect">
                                  <p:stCondLst>
                                    <p:cond delay="1200"/>
                                  </p:stCondLst>
                                  <p:childTnLst>
                                    <p:set>
                                      <p:cBhvr>
                                        <p:cTn id="53" dur="1" fill="hold">
                                          <p:stCondLst>
                                            <p:cond delay="0"/>
                                          </p:stCondLst>
                                        </p:cTn>
                                        <p:tgtEl>
                                          <p:spTgt spid="54"/>
                                        </p:tgtEl>
                                        <p:attrNameLst>
                                          <p:attrName>style.visibility</p:attrName>
                                        </p:attrNameLst>
                                      </p:cBhvr>
                                      <p:to>
                                        <p:strVal val="visible"/>
                                      </p:to>
                                    </p:set>
                                    <p:animEffect transition="in" filter="fade">
                                      <p:cBhvr>
                                        <p:cTn id="54" dur="500"/>
                                        <p:tgtEl>
                                          <p:spTgt spid="54"/>
                                        </p:tgtEl>
                                      </p:cBhvr>
                                    </p:animEffect>
                                  </p:childTnLst>
                                </p:cTn>
                              </p:par>
                              <p:par>
                                <p:cTn id="55" presetID="35" presetClass="path" presetSubtype="0" decel="100000" fill="hold" grpId="1" nodeType="withEffect">
                                  <p:stCondLst>
                                    <p:cond delay="1200"/>
                                  </p:stCondLst>
                                  <p:childTnLst>
                                    <p:animMotion origin="layout" path="M -3.66097E-6 4.00363E-6 L -3.66097E-6 0.0261 " pathEditMode="relative" rAng="0" ptsTypes="AA">
                                      <p:cBhvr>
                                        <p:cTn id="56" dur="500" spd="-100000" fill="hold"/>
                                        <p:tgtEl>
                                          <p:spTgt spid="54"/>
                                        </p:tgtEl>
                                        <p:attrNameLst>
                                          <p:attrName>ppt_x</p:attrName>
                                          <p:attrName>ppt_y</p:attrName>
                                        </p:attrNameLst>
                                      </p:cBhvr>
                                      <p:rCtr x="0" y="1294"/>
                                    </p:animMotion>
                                  </p:childTnLst>
                                </p:cTn>
                              </p:par>
                              <p:par>
                                <p:cTn id="57" presetID="10" presetClass="entr" presetSubtype="0" fill="hold" grpId="0" nodeType="withEffect">
                                  <p:stCondLst>
                                    <p:cond delay="120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500"/>
                                        <p:tgtEl>
                                          <p:spTgt spid="55"/>
                                        </p:tgtEl>
                                      </p:cBhvr>
                                    </p:animEffect>
                                  </p:childTnLst>
                                </p:cTn>
                              </p:par>
                              <p:par>
                                <p:cTn id="60" presetID="35" presetClass="path" presetSubtype="0" decel="100000" fill="hold" grpId="1" nodeType="withEffect">
                                  <p:stCondLst>
                                    <p:cond delay="1200"/>
                                  </p:stCondLst>
                                  <p:childTnLst>
                                    <p:animMotion origin="layout" path="M 9.21624E-7 4.98865E-6 L 9.21624E-7 0.0261 " pathEditMode="relative" rAng="0" ptsTypes="AA">
                                      <p:cBhvr>
                                        <p:cTn id="61" dur="500" spd="-100000" fill="hold"/>
                                        <p:tgtEl>
                                          <p:spTgt spid="55"/>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47" grpId="0" animBg="1"/>
      <p:bldP spid="148" grpId="0"/>
      <p:bldP spid="149" grpId="0"/>
      <p:bldP spid="150" grpId="0"/>
      <p:bldP spid="151" grpId="0"/>
      <p:bldP spid="152" grpId="0"/>
      <p:bldP spid="50" grpId="0"/>
      <p:bldP spid="50" grpId="1"/>
      <p:bldP spid="52" grpId="0"/>
      <p:bldP spid="52" grpId="1"/>
      <p:bldP spid="53" grpId="0"/>
      <p:bldP spid="53" grpId="1"/>
      <p:bldP spid="54" grpId="0"/>
      <p:bldP spid="54" grpId="1"/>
      <p:bldP spid="55" grpId="0"/>
      <p:bldP spid="55"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C783EE-6DB9-4576-A7C4-2369F200CA5C}"/>
              </a:ext>
            </a:extLst>
          </p:cNvPr>
          <p:cNvSpPr/>
          <p:nvPr/>
        </p:nvSpPr>
        <p:spPr bwMode="auto">
          <a:xfrm>
            <a:off x="0" y="-9287"/>
            <a:ext cx="5638797"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dirty="0"/>
              <a:t>Bing entity search</a:t>
            </a:r>
          </a:p>
        </p:txBody>
      </p:sp>
      <p:pic>
        <p:nvPicPr>
          <p:cNvPr id="8" name="Picture 7">
            <a:extLst>
              <a:ext uri="{FF2B5EF4-FFF2-40B4-BE49-F238E27FC236}">
                <a16:creationId xmlns:a16="http://schemas.microsoft.com/office/drawing/2014/main" id="{5BC2951A-D0F5-430E-87A4-FDB639F2966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250481" y="512456"/>
            <a:ext cx="420791" cy="411299"/>
          </a:xfrm>
          <a:prstGeom prst="rect">
            <a:avLst/>
          </a:prstGeom>
        </p:spPr>
      </p:pic>
      <p:sp>
        <p:nvSpPr>
          <p:cNvPr id="3" name="TextBox 2"/>
          <p:cNvSpPr txBox="1"/>
          <p:nvPr/>
        </p:nvSpPr>
        <p:spPr>
          <a:xfrm>
            <a:off x="266700" y="1671695"/>
            <a:ext cx="4840356" cy="482901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Enrich user experiences with contextual entity search result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ap into the power of the web to search for the most relevant entities (such as movies, books, famous people, U.S. local businesses</a:t>
            </a:r>
            <a:r>
              <a:rPr lang="en-US" dirty="0">
                <a:solidFill>
                  <a:srgbClr val="FFFFFF"/>
                </a:solidFill>
                <a:latin typeface="Segoe UI"/>
              </a:rPr>
              <a:t>…</a:t>
            </a:r>
            <a:r>
              <a:rPr kumimoji="0" lang="en-US" sz="1800" b="0" i="0" u="none" strike="noStrike" kern="1200" cap="none" spc="0" normalizeH="0" baseline="0" noProof="0" dirty="0">
                <a:ln>
                  <a:noFill/>
                </a:ln>
                <a:solidFill>
                  <a:srgbClr val="FFFFFF"/>
                </a:solidFill>
                <a:effectLst/>
                <a:uLnTx/>
                <a:uFillTx/>
                <a:latin typeface="Segoe UI"/>
                <a:ea typeface="+mn-ea"/>
                <a:cs typeface="+mn-cs"/>
              </a:rPr>
              <a:t>) and easily provide primary details and information sources about them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ugment your content with entity search result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Showcase of local </a:t>
            </a:r>
            <a:br>
              <a:rPr kumimoji="0" lang="en-US" sz="2400" b="0" i="0" u="none" strike="noStrike" kern="1200" cap="none" spc="0" normalizeH="0" baseline="0" noProof="0" dirty="0">
                <a:ln>
                  <a:noFill/>
                </a:ln>
                <a:solidFill>
                  <a:srgbClr val="FFFFFF"/>
                </a:solidFill>
                <a:effectLst/>
                <a:uLnTx/>
                <a:uFillTx/>
                <a:latin typeface="Segoe UI"/>
                <a:ea typeface="+mn-ea"/>
                <a:cs typeface="+mn-cs"/>
              </a:rPr>
            </a:br>
            <a:r>
              <a:rPr kumimoji="0" lang="en-US" sz="2400" b="0" i="0" u="none" strike="noStrike" kern="1200" cap="none" spc="0" normalizeH="0" baseline="0" noProof="0" dirty="0">
                <a:ln>
                  <a:noFill/>
                </a:ln>
                <a:solidFill>
                  <a:srgbClr val="FFFFFF"/>
                </a:solidFill>
                <a:effectLst/>
                <a:uLnTx/>
                <a:uFillTx/>
                <a:latin typeface="Segoe UI"/>
                <a:ea typeface="+mn-ea"/>
                <a:cs typeface="+mn-cs"/>
              </a:rPr>
              <a:t>businesses nearb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stretch>
            <a:fillRect/>
          </a:stretch>
        </p:blipFill>
        <p:spPr>
          <a:xfrm>
            <a:off x="5876017" y="1"/>
            <a:ext cx="6334812" cy="6858000"/>
          </a:xfrm>
          <a:prstGeom prst="rect">
            <a:avLst/>
          </a:prstGeom>
        </p:spPr>
      </p:pic>
      <p:sp>
        <p:nvSpPr>
          <p:cNvPr id="10" name="Oval 9">
            <a:extLst>
              <a:ext uri="{FF2B5EF4-FFF2-40B4-BE49-F238E27FC236}">
                <a16:creationId xmlns:a16="http://schemas.microsoft.com/office/drawing/2014/main" id="{7743D8C5-717A-4FF5-827A-1B43F107830E}"/>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DB2509A6-C5D8-4C11-A3DC-FC605CA790AC}"/>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029076" y="286305"/>
            <a:ext cx="863600" cy="863600"/>
          </a:xfrm>
          <a:prstGeom prst="rect">
            <a:avLst/>
          </a:prstGeom>
        </p:spPr>
      </p:pic>
    </p:spTree>
    <p:extLst>
      <p:ext uri="{BB962C8B-B14F-4D97-AF65-F5344CB8AC3E}">
        <p14:creationId xmlns:p14="http://schemas.microsoft.com/office/powerpoint/2010/main" val="145868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4" y="487"/>
            <a:ext cx="12191377" cy="6857027"/>
          </a:xfrm>
          <a:prstGeom prst="rect">
            <a:avLst/>
          </a:prstGeom>
        </p:spPr>
      </p:pic>
      <p:grpSp>
        <p:nvGrpSpPr>
          <p:cNvPr id="10" name="Group 9">
            <a:extLst>
              <a:ext uri="{FF2B5EF4-FFF2-40B4-BE49-F238E27FC236}">
                <a16:creationId xmlns:a16="http://schemas.microsoft.com/office/drawing/2014/main" id="{AED69270-2D2C-4956-A72F-53FB0C0FF1C8}"/>
              </a:ext>
            </a:extLst>
          </p:cNvPr>
          <p:cNvGrpSpPr/>
          <p:nvPr/>
        </p:nvGrpSpPr>
        <p:grpSpPr>
          <a:xfrm>
            <a:off x="1" y="-17246"/>
            <a:ext cx="5638800" cy="6892494"/>
            <a:chOff x="1" y="-17246"/>
            <a:chExt cx="5638800" cy="6892494"/>
          </a:xfrm>
        </p:grpSpPr>
        <p:sp>
          <p:nvSpPr>
            <p:cNvPr id="5" name="Rectangle 4"/>
            <p:cNvSpPr/>
            <p:nvPr/>
          </p:nvSpPr>
          <p:spPr bwMode="auto">
            <a:xfrm>
              <a:off x="1" y="-17246"/>
              <a:ext cx="5638800" cy="68924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7E1051-5AEA-4D36-A6A0-AC641C47D979}"/>
                </a:ext>
              </a:extLst>
            </p:cNvPr>
            <p:cNvGrpSpPr/>
            <p:nvPr/>
          </p:nvGrpSpPr>
          <p:grpSpPr>
            <a:xfrm>
              <a:off x="190500" y="243520"/>
              <a:ext cx="5396877" cy="6329099"/>
              <a:chOff x="564787" y="243520"/>
              <a:chExt cx="5396877" cy="6329099"/>
            </a:xfrm>
          </p:grpSpPr>
          <p:grpSp>
            <p:nvGrpSpPr>
              <p:cNvPr id="2" name="Group 1"/>
              <p:cNvGrpSpPr/>
              <p:nvPr/>
            </p:nvGrpSpPr>
            <p:grpSpPr>
              <a:xfrm>
                <a:off x="564787" y="243520"/>
                <a:ext cx="5396877" cy="6329099"/>
                <a:chOff x="-2123038" y="-299405"/>
                <a:chExt cx="5973236" cy="6329099"/>
              </a:xfrm>
            </p:grpSpPr>
            <p:sp>
              <p:nvSpPr>
                <p:cNvPr id="7" name="Rectangle 6"/>
                <p:cNvSpPr/>
                <p:nvPr/>
              </p:nvSpPr>
              <p:spPr bwMode="auto">
                <a:xfrm>
                  <a:off x="-2123037" y="1191432"/>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Learn more on the Cortana Intelligence Suite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4"/>
                    </a:rPr>
                    <a:t>website</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 and Cognitive Services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5"/>
                    </a:rPr>
                    <a:t>website</a:t>
                  </a:r>
                  <a:endPar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endParaRPr>
                </a:p>
              </p:txBody>
            </p:sp>
            <p:sp>
              <p:nvSpPr>
                <p:cNvPr id="8" name="Rectangle 7"/>
                <p:cNvSpPr/>
                <p:nvPr/>
              </p:nvSpPr>
              <p:spPr bwMode="auto">
                <a:xfrm>
                  <a:off x="-2123037" y="2756238"/>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Schedule a workshop to identify areas in your business where analytics and intelligence can </a:t>
                  </a:r>
                  <a:b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b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drive transformation</a:t>
                  </a:r>
                </a:p>
              </p:txBody>
            </p:sp>
            <p:sp>
              <p:nvSpPr>
                <p:cNvPr id="9" name="Rectangle 8"/>
                <p:cNvSpPr/>
                <p:nvPr/>
              </p:nvSpPr>
              <p:spPr bwMode="auto">
                <a:xfrm>
                  <a:off x="-2123038" y="4344705"/>
                  <a:ext cx="5973236"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Talk with your Microsoft contact about licensing options and partners</a:t>
                  </a:r>
                </a:p>
              </p:txBody>
            </p:sp>
            <p:grpSp>
              <p:nvGrpSpPr>
                <p:cNvPr id="13" name="Group 12"/>
                <p:cNvGrpSpPr/>
                <p:nvPr/>
              </p:nvGrpSpPr>
              <p:grpSpPr>
                <a:xfrm>
                  <a:off x="-1845606" y="1742385"/>
                  <a:ext cx="648798" cy="583082"/>
                  <a:chOff x="2206625" y="3448050"/>
                  <a:chExt cx="862013" cy="774701"/>
                </a:xfrm>
                <a:solidFill>
                  <a:schemeClr val="accent1"/>
                </a:solidFill>
              </p:grpSpPr>
              <p:sp>
                <p:nvSpPr>
                  <p:cNvPr id="14" name="Freeform 20"/>
                  <p:cNvSpPr>
                    <a:spLocks/>
                  </p:cNvSpPr>
                  <p:nvPr/>
                </p:nvSpPr>
                <p:spPr bwMode="auto">
                  <a:xfrm>
                    <a:off x="2206625" y="3448050"/>
                    <a:ext cx="663575" cy="417513"/>
                  </a:xfrm>
                  <a:custGeom>
                    <a:avLst/>
                    <a:gdLst>
                      <a:gd name="T0" fmla="*/ 225 w 418"/>
                      <a:gd name="T1" fmla="*/ 263 h 263"/>
                      <a:gd name="T2" fmla="*/ 0 w 418"/>
                      <a:gd name="T3" fmla="*/ 263 h 263"/>
                      <a:gd name="T4" fmla="*/ 0 w 418"/>
                      <a:gd name="T5" fmla="*/ 0 h 263"/>
                      <a:gd name="T6" fmla="*/ 418 w 418"/>
                      <a:gd name="T7" fmla="*/ 0 h 263"/>
                      <a:gd name="T8" fmla="*/ 418 w 418"/>
                      <a:gd name="T9" fmla="*/ 90 h 263"/>
                      <a:gd name="T10" fmla="*/ 407 w 418"/>
                      <a:gd name="T11" fmla="*/ 90 h 263"/>
                      <a:gd name="T12" fmla="*/ 407 w 418"/>
                      <a:gd name="T13" fmla="*/ 12 h 263"/>
                      <a:gd name="T14" fmla="*/ 12 w 418"/>
                      <a:gd name="T15" fmla="*/ 12 h 263"/>
                      <a:gd name="T16" fmla="*/ 12 w 418"/>
                      <a:gd name="T17" fmla="*/ 250 h 263"/>
                      <a:gd name="T18" fmla="*/ 225 w 418"/>
                      <a:gd name="T19" fmla="*/ 250 h 263"/>
                      <a:gd name="T20" fmla="*/ 225 w 41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263">
                        <a:moveTo>
                          <a:pt x="225" y="263"/>
                        </a:moveTo>
                        <a:lnTo>
                          <a:pt x="0" y="263"/>
                        </a:lnTo>
                        <a:lnTo>
                          <a:pt x="0" y="0"/>
                        </a:lnTo>
                        <a:lnTo>
                          <a:pt x="418" y="0"/>
                        </a:lnTo>
                        <a:lnTo>
                          <a:pt x="418" y="90"/>
                        </a:lnTo>
                        <a:lnTo>
                          <a:pt x="407" y="90"/>
                        </a:lnTo>
                        <a:lnTo>
                          <a:pt x="407" y="12"/>
                        </a:lnTo>
                        <a:lnTo>
                          <a:pt x="12" y="12"/>
                        </a:lnTo>
                        <a:lnTo>
                          <a:pt x="12" y="250"/>
                        </a:lnTo>
                        <a:lnTo>
                          <a:pt x="225" y="250"/>
                        </a:lnTo>
                        <a:lnTo>
                          <a:pt x="225" y="263"/>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p:cNvSpPr>
                    <a:spLocks noChangeArrowheads="1"/>
                  </p:cNvSpPr>
                  <p:nvPr/>
                </p:nvSpPr>
                <p:spPr bwMode="auto">
                  <a:xfrm>
                    <a:off x="2384425" y="3910013"/>
                    <a:ext cx="231775" cy="19050"/>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p:cNvSpPr>
                    <a:spLocks noChangeArrowheads="1"/>
                  </p:cNvSpPr>
                  <p:nvPr/>
                </p:nvSpPr>
                <p:spPr bwMode="auto">
                  <a:xfrm>
                    <a:off x="2430463" y="3854450"/>
                    <a:ext cx="20638" cy="65088"/>
                  </a:xfrm>
                  <a:prstGeom prst="rect">
                    <a:avLst/>
                  </a:prstGeom>
                  <a:solidFill>
                    <a:srgbClr val="002050"/>
                  </a:solidFill>
                  <a:ln w="9525">
                    <a:solidFill>
                      <a:srgbClr val="00205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9"/>
                  <p:cNvSpPr>
                    <a:spLocks noEditPoints="1"/>
                  </p:cNvSpPr>
                  <p:nvPr/>
                </p:nvSpPr>
                <p:spPr bwMode="auto">
                  <a:xfrm>
                    <a:off x="2359025" y="3519488"/>
                    <a:ext cx="709613" cy="703263"/>
                  </a:xfrm>
                  <a:custGeom>
                    <a:avLst/>
                    <a:gdLst>
                      <a:gd name="T0" fmla="*/ 3 w 447"/>
                      <a:gd name="T1" fmla="*/ 418 h 443"/>
                      <a:gd name="T2" fmla="*/ 11 w 447"/>
                      <a:gd name="T3" fmla="*/ 356 h 443"/>
                      <a:gd name="T4" fmla="*/ 41 w 447"/>
                      <a:gd name="T5" fmla="*/ 322 h 443"/>
                      <a:gd name="T6" fmla="*/ 83 w 447"/>
                      <a:gd name="T7" fmla="*/ 305 h 443"/>
                      <a:gd name="T8" fmla="*/ 139 w 447"/>
                      <a:gd name="T9" fmla="*/ 281 h 443"/>
                      <a:gd name="T10" fmla="*/ 156 w 447"/>
                      <a:gd name="T11" fmla="*/ 260 h 443"/>
                      <a:gd name="T12" fmla="*/ 134 w 447"/>
                      <a:gd name="T13" fmla="*/ 228 h 443"/>
                      <a:gd name="T14" fmla="*/ 101 w 447"/>
                      <a:gd name="T15" fmla="*/ 177 h 443"/>
                      <a:gd name="T16" fmla="*/ 103 w 447"/>
                      <a:gd name="T17" fmla="*/ 138 h 443"/>
                      <a:gd name="T18" fmla="*/ 106 w 447"/>
                      <a:gd name="T19" fmla="*/ 103 h 443"/>
                      <a:gd name="T20" fmla="*/ 123 w 447"/>
                      <a:gd name="T21" fmla="*/ 48 h 443"/>
                      <a:gd name="T22" fmla="*/ 165 w 447"/>
                      <a:gd name="T23" fmla="*/ 19 h 443"/>
                      <a:gd name="T24" fmla="*/ 252 w 447"/>
                      <a:gd name="T25" fmla="*/ 0 h 443"/>
                      <a:gd name="T26" fmla="*/ 296 w 447"/>
                      <a:gd name="T27" fmla="*/ 22 h 443"/>
                      <a:gd name="T28" fmla="*/ 314 w 447"/>
                      <a:gd name="T29" fmla="*/ 37 h 443"/>
                      <a:gd name="T30" fmla="*/ 339 w 447"/>
                      <a:gd name="T31" fmla="*/ 67 h 443"/>
                      <a:gd name="T32" fmla="*/ 345 w 447"/>
                      <a:gd name="T33" fmla="*/ 115 h 443"/>
                      <a:gd name="T34" fmla="*/ 347 w 447"/>
                      <a:gd name="T35" fmla="*/ 152 h 443"/>
                      <a:gd name="T36" fmla="*/ 336 w 447"/>
                      <a:gd name="T37" fmla="*/ 197 h 443"/>
                      <a:gd name="T38" fmla="*/ 297 w 447"/>
                      <a:gd name="T39" fmla="*/ 247 h 443"/>
                      <a:gd name="T40" fmla="*/ 285 w 447"/>
                      <a:gd name="T41" fmla="*/ 264 h 443"/>
                      <a:gd name="T42" fmla="*/ 305 w 447"/>
                      <a:gd name="T43" fmla="*/ 281 h 443"/>
                      <a:gd name="T44" fmla="*/ 395 w 447"/>
                      <a:gd name="T45" fmla="*/ 316 h 443"/>
                      <a:gd name="T46" fmla="*/ 434 w 447"/>
                      <a:gd name="T47" fmla="*/ 347 h 443"/>
                      <a:gd name="T48" fmla="*/ 445 w 447"/>
                      <a:gd name="T49" fmla="*/ 396 h 443"/>
                      <a:gd name="T50" fmla="*/ 14 w 447"/>
                      <a:gd name="T51" fmla="*/ 431 h 443"/>
                      <a:gd name="T52" fmla="*/ 434 w 447"/>
                      <a:gd name="T53" fmla="*/ 395 h 443"/>
                      <a:gd name="T54" fmla="*/ 423 w 447"/>
                      <a:gd name="T55" fmla="*/ 353 h 443"/>
                      <a:gd name="T56" fmla="*/ 391 w 447"/>
                      <a:gd name="T57" fmla="*/ 328 h 443"/>
                      <a:gd name="T58" fmla="*/ 299 w 447"/>
                      <a:gd name="T59" fmla="*/ 292 h 443"/>
                      <a:gd name="T60" fmla="*/ 272 w 447"/>
                      <a:gd name="T61" fmla="*/ 266 h 443"/>
                      <a:gd name="T62" fmla="*/ 280 w 447"/>
                      <a:gd name="T63" fmla="*/ 249 h 443"/>
                      <a:gd name="T64" fmla="*/ 317 w 447"/>
                      <a:gd name="T65" fmla="*/ 202 h 443"/>
                      <a:gd name="T66" fmla="*/ 336 w 447"/>
                      <a:gd name="T67" fmla="*/ 168 h 443"/>
                      <a:gd name="T68" fmla="*/ 333 w 447"/>
                      <a:gd name="T69" fmla="*/ 135 h 443"/>
                      <a:gd name="T70" fmla="*/ 331 w 447"/>
                      <a:gd name="T71" fmla="*/ 82 h 443"/>
                      <a:gd name="T72" fmla="*/ 313 w 447"/>
                      <a:gd name="T73" fmla="*/ 50 h 443"/>
                      <a:gd name="T74" fmla="*/ 293 w 447"/>
                      <a:gd name="T75" fmla="*/ 37 h 443"/>
                      <a:gd name="T76" fmla="*/ 263 w 447"/>
                      <a:gd name="T77" fmla="*/ 14 h 443"/>
                      <a:gd name="T78" fmla="*/ 213 w 447"/>
                      <a:gd name="T79" fmla="*/ 16 h 443"/>
                      <a:gd name="T80" fmla="*/ 137 w 447"/>
                      <a:gd name="T81" fmla="*/ 50 h 443"/>
                      <a:gd name="T82" fmla="*/ 118 w 447"/>
                      <a:gd name="T83" fmla="*/ 106 h 443"/>
                      <a:gd name="T84" fmla="*/ 117 w 447"/>
                      <a:gd name="T85" fmla="*/ 132 h 443"/>
                      <a:gd name="T86" fmla="*/ 111 w 447"/>
                      <a:gd name="T87" fmla="*/ 159 h 443"/>
                      <a:gd name="T88" fmla="*/ 128 w 447"/>
                      <a:gd name="T89" fmla="*/ 200 h 443"/>
                      <a:gd name="T90" fmla="*/ 165 w 447"/>
                      <a:gd name="T91" fmla="*/ 246 h 443"/>
                      <a:gd name="T92" fmla="*/ 157 w 447"/>
                      <a:gd name="T93" fmla="*/ 281 h 443"/>
                      <a:gd name="T94" fmla="*/ 111 w 447"/>
                      <a:gd name="T95" fmla="*/ 308 h 443"/>
                      <a:gd name="T96" fmla="*/ 70 w 447"/>
                      <a:gd name="T97" fmla="*/ 322 h 443"/>
                      <a:gd name="T98" fmla="*/ 34 w 447"/>
                      <a:gd name="T99" fmla="*/ 342 h 443"/>
                      <a:gd name="T100" fmla="*/ 17 w 447"/>
                      <a:gd name="T101" fmla="*/ 376 h 443"/>
                      <a:gd name="T102" fmla="*/ 14 w 447"/>
                      <a:gd name="T103" fmla="*/ 43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7" h="443">
                        <a:moveTo>
                          <a:pt x="447" y="443"/>
                        </a:moveTo>
                        <a:lnTo>
                          <a:pt x="0" y="443"/>
                        </a:lnTo>
                        <a:lnTo>
                          <a:pt x="2" y="437"/>
                        </a:lnTo>
                        <a:lnTo>
                          <a:pt x="2" y="437"/>
                        </a:lnTo>
                        <a:lnTo>
                          <a:pt x="3" y="418"/>
                        </a:lnTo>
                        <a:lnTo>
                          <a:pt x="3" y="418"/>
                        </a:lnTo>
                        <a:lnTo>
                          <a:pt x="6" y="375"/>
                        </a:lnTo>
                        <a:lnTo>
                          <a:pt x="6" y="375"/>
                        </a:lnTo>
                        <a:lnTo>
                          <a:pt x="8" y="365"/>
                        </a:lnTo>
                        <a:lnTo>
                          <a:pt x="11" y="356"/>
                        </a:lnTo>
                        <a:lnTo>
                          <a:pt x="14" y="348"/>
                        </a:lnTo>
                        <a:lnTo>
                          <a:pt x="20" y="340"/>
                        </a:lnTo>
                        <a:lnTo>
                          <a:pt x="25" y="333"/>
                        </a:lnTo>
                        <a:lnTo>
                          <a:pt x="33" y="326"/>
                        </a:lnTo>
                        <a:lnTo>
                          <a:pt x="41" y="322"/>
                        </a:lnTo>
                        <a:lnTo>
                          <a:pt x="50" y="317"/>
                        </a:lnTo>
                        <a:lnTo>
                          <a:pt x="50" y="317"/>
                        </a:lnTo>
                        <a:lnTo>
                          <a:pt x="67" y="311"/>
                        </a:lnTo>
                        <a:lnTo>
                          <a:pt x="83" y="305"/>
                        </a:lnTo>
                        <a:lnTo>
                          <a:pt x="83" y="305"/>
                        </a:lnTo>
                        <a:lnTo>
                          <a:pt x="104" y="297"/>
                        </a:lnTo>
                        <a:lnTo>
                          <a:pt x="106" y="297"/>
                        </a:lnTo>
                        <a:lnTo>
                          <a:pt x="106" y="297"/>
                        </a:lnTo>
                        <a:lnTo>
                          <a:pt x="123" y="291"/>
                        </a:lnTo>
                        <a:lnTo>
                          <a:pt x="139" y="281"/>
                        </a:lnTo>
                        <a:lnTo>
                          <a:pt x="139" y="281"/>
                        </a:lnTo>
                        <a:lnTo>
                          <a:pt x="146" y="275"/>
                        </a:lnTo>
                        <a:lnTo>
                          <a:pt x="154" y="264"/>
                        </a:lnTo>
                        <a:lnTo>
                          <a:pt x="154" y="264"/>
                        </a:lnTo>
                        <a:lnTo>
                          <a:pt x="156" y="260"/>
                        </a:lnTo>
                        <a:lnTo>
                          <a:pt x="156" y="255"/>
                        </a:lnTo>
                        <a:lnTo>
                          <a:pt x="154" y="250"/>
                        </a:lnTo>
                        <a:lnTo>
                          <a:pt x="151" y="246"/>
                        </a:lnTo>
                        <a:lnTo>
                          <a:pt x="151" y="246"/>
                        </a:lnTo>
                        <a:lnTo>
                          <a:pt x="134" y="228"/>
                        </a:lnTo>
                        <a:lnTo>
                          <a:pt x="118" y="207"/>
                        </a:lnTo>
                        <a:lnTo>
                          <a:pt x="118" y="207"/>
                        </a:lnTo>
                        <a:lnTo>
                          <a:pt x="107" y="193"/>
                        </a:lnTo>
                        <a:lnTo>
                          <a:pt x="104" y="185"/>
                        </a:lnTo>
                        <a:lnTo>
                          <a:pt x="101" y="177"/>
                        </a:lnTo>
                        <a:lnTo>
                          <a:pt x="100" y="168"/>
                        </a:lnTo>
                        <a:lnTo>
                          <a:pt x="98" y="159"/>
                        </a:lnTo>
                        <a:lnTo>
                          <a:pt x="100" y="149"/>
                        </a:lnTo>
                        <a:lnTo>
                          <a:pt x="103" y="138"/>
                        </a:lnTo>
                        <a:lnTo>
                          <a:pt x="103" y="138"/>
                        </a:lnTo>
                        <a:lnTo>
                          <a:pt x="104" y="131"/>
                        </a:lnTo>
                        <a:lnTo>
                          <a:pt x="104" y="120"/>
                        </a:lnTo>
                        <a:lnTo>
                          <a:pt x="104" y="120"/>
                        </a:lnTo>
                        <a:lnTo>
                          <a:pt x="104" y="112"/>
                        </a:lnTo>
                        <a:lnTo>
                          <a:pt x="106" y="103"/>
                        </a:lnTo>
                        <a:lnTo>
                          <a:pt x="106" y="103"/>
                        </a:lnTo>
                        <a:lnTo>
                          <a:pt x="112" y="76"/>
                        </a:lnTo>
                        <a:lnTo>
                          <a:pt x="120" y="54"/>
                        </a:lnTo>
                        <a:lnTo>
                          <a:pt x="120" y="54"/>
                        </a:lnTo>
                        <a:lnTo>
                          <a:pt x="123" y="48"/>
                        </a:lnTo>
                        <a:lnTo>
                          <a:pt x="128" y="42"/>
                        </a:lnTo>
                        <a:lnTo>
                          <a:pt x="134" y="36"/>
                        </a:lnTo>
                        <a:lnTo>
                          <a:pt x="142" y="31"/>
                        </a:lnTo>
                        <a:lnTo>
                          <a:pt x="142" y="31"/>
                        </a:lnTo>
                        <a:lnTo>
                          <a:pt x="165" y="19"/>
                        </a:lnTo>
                        <a:lnTo>
                          <a:pt x="187" y="9"/>
                        </a:lnTo>
                        <a:lnTo>
                          <a:pt x="212" y="3"/>
                        </a:lnTo>
                        <a:lnTo>
                          <a:pt x="235" y="0"/>
                        </a:lnTo>
                        <a:lnTo>
                          <a:pt x="235" y="0"/>
                        </a:lnTo>
                        <a:lnTo>
                          <a:pt x="252" y="0"/>
                        </a:lnTo>
                        <a:lnTo>
                          <a:pt x="261" y="2"/>
                        </a:lnTo>
                        <a:lnTo>
                          <a:pt x="271" y="5"/>
                        </a:lnTo>
                        <a:lnTo>
                          <a:pt x="280" y="8"/>
                        </a:lnTo>
                        <a:lnTo>
                          <a:pt x="288" y="14"/>
                        </a:lnTo>
                        <a:lnTo>
                          <a:pt x="296" y="22"/>
                        </a:lnTo>
                        <a:lnTo>
                          <a:pt x="303" y="31"/>
                        </a:lnTo>
                        <a:lnTo>
                          <a:pt x="303" y="31"/>
                        </a:lnTo>
                        <a:lnTo>
                          <a:pt x="305" y="34"/>
                        </a:lnTo>
                        <a:lnTo>
                          <a:pt x="305" y="34"/>
                        </a:lnTo>
                        <a:lnTo>
                          <a:pt x="314" y="37"/>
                        </a:lnTo>
                        <a:lnTo>
                          <a:pt x="322" y="42"/>
                        </a:lnTo>
                        <a:lnTo>
                          <a:pt x="328" y="47"/>
                        </a:lnTo>
                        <a:lnTo>
                          <a:pt x="333" y="53"/>
                        </a:lnTo>
                        <a:lnTo>
                          <a:pt x="336" y="61"/>
                        </a:lnTo>
                        <a:lnTo>
                          <a:pt x="339" y="67"/>
                        </a:lnTo>
                        <a:lnTo>
                          <a:pt x="342" y="81"/>
                        </a:lnTo>
                        <a:lnTo>
                          <a:pt x="342" y="81"/>
                        </a:lnTo>
                        <a:lnTo>
                          <a:pt x="345" y="96"/>
                        </a:lnTo>
                        <a:lnTo>
                          <a:pt x="345" y="113"/>
                        </a:lnTo>
                        <a:lnTo>
                          <a:pt x="345" y="115"/>
                        </a:lnTo>
                        <a:lnTo>
                          <a:pt x="345" y="115"/>
                        </a:lnTo>
                        <a:lnTo>
                          <a:pt x="345" y="134"/>
                        </a:lnTo>
                        <a:lnTo>
                          <a:pt x="345" y="143"/>
                        </a:lnTo>
                        <a:lnTo>
                          <a:pt x="347" y="152"/>
                        </a:lnTo>
                        <a:lnTo>
                          <a:pt x="347" y="152"/>
                        </a:lnTo>
                        <a:lnTo>
                          <a:pt x="349" y="160"/>
                        </a:lnTo>
                        <a:lnTo>
                          <a:pt x="349" y="168"/>
                        </a:lnTo>
                        <a:lnTo>
                          <a:pt x="347" y="176"/>
                        </a:lnTo>
                        <a:lnTo>
                          <a:pt x="344" y="183"/>
                        </a:lnTo>
                        <a:lnTo>
                          <a:pt x="336" y="197"/>
                        </a:lnTo>
                        <a:lnTo>
                          <a:pt x="327" y="210"/>
                        </a:lnTo>
                        <a:lnTo>
                          <a:pt x="327" y="210"/>
                        </a:lnTo>
                        <a:lnTo>
                          <a:pt x="302" y="241"/>
                        </a:lnTo>
                        <a:lnTo>
                          <a:pt x="302" y="241"/>
                        </a:lnTo>
                        <a:lnTo>
                          <a:pt x="297" y="247"/>
                        </a:lnTo>
                        <a:lnTo>
                          <a:pt x="297" y="247"/>
                        </a:lnTo>
                        <a:lnTo>
                          <a:pt x="289" y="256"/>
                        </a:lnTo>
                        <a:lnTo>
                          <a:pt x="289" y="256"/>
                        </a:lnTo>
                        <a:lnTo>
                          <a:pt x="285" y="261"/>
                        </a:lnTo>
                        <a:lnTo>
                          <a:pt x="285" y="264"/>
                        </a:lnTo>
                        <a:lnTo>
                          <a:pt x="285" y="264"/>
                        </a:lnTo>
                        <a:lnTo>
                          <a:pt x="286" y="267"/>
                        </a:lnTo>
                        <a:lnTo>
                          <a:pt x="289" y="270"/>
                        </a:lnTo>
                        <a:lnTo>
                          <a:pt x="289" y="270"/>
                        </a:lnTo>
                        <a:lnTo>
                          <a:pt x="305" y="281"/>
                        </a:lnTo>
                        <a:lnTo>
                          <a:pt x="325" y="291"/>
                        </a:lnTo>
                        <a:lnTo>
                          <a:pt x="325" y="291"/>
                        </a:lnTo>
                        <a:lnTo>
                          <a:pt x="364" y="305"/>
                        </a:lnTo>
                        <a:lnTo>
                          <a:pt x="364" y="305"/>
                        </a:lnTo>
                        <a:lnTo>
                          <a:pt x="395" y="316"/>
                        </a:lnTo>
                        <a:lnTo>
                          <a:pt x="395" y="316"/>
                        </a:lnTo>
                        <a:lnTo>
                          <a:pt x="408" y="322"/>
                        </a:lnTo>
                        <a:lnTo>
                          <a:pt x="419" y="330"/>
                        </a:lnTo>
                        <a:lnTo>
                          <a:pt x="426" y="337"/>
                        </a:lnTo>
                        <a:lnTo>
                          <a:pt x="434" y="347"/>
                        </a:lnTo>
                        <a:lnTo>
                          <a:pt x="440" y="358"/>
                        </a:lnTo>
                        <a:lnTo>
                          <a:pt x="443" y="368"/>
                        </a:lnTo>
                        <a:lnTo>
                          <a:pt x="445" y="382"/>
                        </a:lnTo>
                        <a:lnTo>
                          <a:pt x="445" y="396"/>
                        </a:lnTo>
                        <a:lnTo>
                          <a:pt x="445" y="396"/>
                        </a:lnTo>
                        <a:lnTo>
                          <a:pt x="445" y="424"/>
                        </a:lnTo>
                        <a:lnTo>
                          <a:pt x="445" y="424"/>
                        </a:lnTo>
                        <a:lnTo>
                          <a:pt x="447" y="437"/>
                        </a:lnTo>
                        <a:lnTo>
                          <a:pt x="447" y="443"/>
                        </a:lnTo>
                        <a:close/>
                        <a:moveTo>
                          <a:pt x="14" y="431"/>
                        </a:moveTo>
                        <a:lnTo>
                          <a:pt x="434" y="431"/>
                        </a:lnTo>
                        <a:lnTo>
                          <a:pt x="434" y="431"/>
                        </a:lnTo>
                        <a:lnTo>
                          <a:pt x="434" y="424"/>
                        </a:lnTo>
                        <a:lnTo>
                          <a:pt x="434" y="424"/>
                        </a:lnTo>
                        <a:lnTo>
                          <a:pt x="434" y="395"/>
                        </a:lnTo>
                        <a:lnTo>
                          <a:pt x="434" y="395"/>
                        </a:lnTo>
                        <a:lnTo>
                          <a:pt x="434" y="384"/>
                        </a:lnTo>
                        <a:lnTo>
                          <a:pt x="431" y="371"/>
                        </a:lnTo>
                        <a:lnTo>
                          <a:pt x="428" y="362"/>
                        </a:lnTo>
                        <a:lnTo>
                          <a:pt x="423" y="353"/>
                        </a:lnTo>
                        <a:lnTo>
                          <a:pt x="419" y="345"/>
                        </a:lnTo>
                        <a:lnTo>
                          <a:pt x="411" y="339"/>
                        </a:lnTo>
                        <a:lnTo>
                          <a:pt x="401" y="333"/>
                        </a:lnTo>
                        <a:lnTo>
                          <a:pt x="391" y="328"/>
                        </a:lnTo>
                        <a:lnTo>
                          <a:pt x="391" y="328"/>
                        </a:lnTo>
                        <a:lnTo>
                          <a:pt x="359" y="316"/>
                        </a:lnTo>
                        <a:lnTo>
                          <a:pt x="359" y="316"/>
                        </a:lnTo>
                        <a:lnTo>
                          <a:pt x="321" y="302"/>
                        </a:lnTo>
                        <a:lnTo>
                          <a:pt x="321" y="302"/>
                        </a:lnTo>
                        <a:lnTo>
                          <a:pt x="299" y="292"/>
                        </a:lnTo>
                        <a:lnTo>
                          <a:pt x="282" y="280"/>
                        </a:lnTo>
                        <a:lnTo>
                          <a:pt x="282" y="280"/>
                        </a:lnTo>
                        <a:lnTo>
                          <a:pt x="275" y="274"/>
                        </a:lnTo>
                        <a:lnTo>
                          <a:pt x="272" y="270"/>
                        </a:lnTo>
                        <a:lnTo>
                          <a:pt x="272" y="266"/>
                        </a:lnTo>
                        <a:lnTo>
                          <a:pt x="272" y="266"/>
                        </a:lnTo>
                        <a:lnTo>
                          <a:pt x="272" y="261"/>
                        </a:lnTo>
                        <a:lnTo>
                          <a:pt x="274" y="256"/>
                        </a:lnTo>
                        <a:lnTo>
                          <a:pt x="280" y="249"/>
                        </a:lnTo>
                        <a:lnTo>
                          <a:pt x="280" y="249"/>
                        </a:lnTo>
                        <a:lnTo>
                          <a:pt x="288" y="239"/>
                        </a:lnTo>
                        <a:lnTo>
                          <a:pt x="288" y="239"/>
                        </a:lnTo>
                        <a:lnTo>
                          <a:pt x="293" y="233"/>
                        </a:lnTo>
                        <a:lnTo>
                          <a:pt x="293" y="233"/>
                        </a:lnTo>
                        <a:lnTo>
                          <a:pt x="317" y="202"/>
                        </a:lnTo>
                        <a:lnTo>
                          <a:pt x="317" y="202"/>
                        </a:lnTo>
                        <a:lnTo>
                          <a:pt x="325" y="191"/>
                        </a:lnTo>
                        <a:lnTo>
                          <a:pt x="333" y="180"/>
                        </a:lnTo>
                        <a:lnTo>
                          <a:pt x="335" y="174"/>
                        </a:lnTo>
                        <a:lnTo>
                          <a:pt x="336" y="168"/>
                        </a:lnTo>
                        <a:lnTo>
                          <a:pt x="336" y="162"/>
                        </a:lnTo>
                        <a:lnTo>
                          <a:pt x="336" y="155"/>
                        </a:lnTo>
                        <a:lnTo>
                          <a:pt x="336" y="155"/>
                        </a:lnTo>
                        <a:lnTo>
                          <a:pt x="333" y="145"/>
                        </a:lnTo>
                        <a:lnTo>
                          <a:pt x="333" y="135"/>
                        </a:lnTo>
                        <a:lnTo>
                          <a:pt x="333" y="115"/>
                        </a:lnTo>
                        <a:lnTo>
                          <a:pt x="333" y="113"/>
                        </a:lnTo>
                        <a:lnTo>
                          <a:pt x="333" y="113"/>
                        </a:lnTo>
                        <a:lnTo>
                          <a:pt x="333" y="96"/>
                        </a:lnTo>
                        <a:lnTo>
                          <a:pt x="331" y="82"/>
                        </a:lnTo>
                        <a:lnTo>
                          <a:pt x="331" y="82"/>
                        </a:lnTo>
                        <a:lnTo>
                          <a:pt x="327" y="68"/>
                        </a:lnTo>
                        <a:lnTo>
                          <a:pt x="321" y="57"/>
                        </a:lnTo>
                        <a:lnTo>
                          <a:pt x="317" y="53"/>
                        </a:lnTo>
                        <a:lnTo>
                          <a:pt x="313" y="50"/>
                        </a:lnTo>
                        <a:lnTo>
                          <a:pt x="302" y="45"/>
                        </a:lnTo>
                        <a:lnTo>
                          <a:pt x="302" y="45"/>
                        </a:lnTo>
                        <a:lnTo>
                          <a:pt x="296" y="42"/>
                        </a:lnTo>
                        <a:lnTo>
                          <a:pt x="293" y="37"/>
                        </a:lnTo>
                        <a:lnTo>
                          <a:pt x="293" y="37"/>
                        </a:lnTo>
                        <a:lnTo>
                          <a:pt x="288" y="31"/>
                        </a:lnTo>
                        <a:lnTo>
                          <a:pt x="283" y="25"/>
                        </a:lnTo>
                        <a:lnTo>
                          <a:pt x="277" y="20"/>
                        </a:lnTo>
                        <a:lnTo>
                          <a:pt x="271" y="17"/>
                        </a:lnTo>
                        <a:lnTo>
                          <a:pt x="263" y="14"/>
                        </a:lnTo>
                        <a:lnTo>
                          <a:pt x="255" y="12"/>
                        </a:lnTo>
                        <a:lnTo>
                          <a:pt x="246" y="12"/>
                        </a:lnTo>
                        <a:lnTo>
                          <a:pt x="237" y="12"/>
                        </a:lnTo>
                        <a:lnTo>
                          <a:pt x="237" y="12"/>
                        </a:lnTo>
                        <a:lnTo>
                          <a:pt x="213" y="16"/>
                        </a:lnTo>
                        <a:lnTo>
                          <a:pt x="191" y="20"/>
                        </a:lnTo>
                        <a:lnTo>
                          <a:pt x="170" y="30"/>
                        </a:lnTo>
                        <a:lnTo>
                          <a:pt x="148" y="40"/>
                        </a:lnTo>
                        <a:lnTo>
                          <a:pt x="148" y="40"/>
                        </a:lnTo>
                        <a:lnTo>
                          <a:pt x="137" y="50"/>
                        </a:lnTo>
                        <a:lnTo>
                          <a:pt x="134" y="54"/>
                        </a:lnTo>
                        <a:lnTo>
                          <a:pt x="131" y="59"/>
                        </a:lnTo>
                        <a:lnTo>
                          <a:pt x="131" y="59"/>
                        </a:lnTo>
                        <a:lnTo>
                          <a:pt x="125" y="79"/>
                        </a:lnTo>
                        <a:lnTo>
                          <a:pt x="118" y="106"/>
                        </a:lnTo>
                        <a:lnTo>
                          <a:pt x="118" y="106"/>
                        </a:lnTo>
                        <a:lnTo>
                          <a:pt x="117" y="112"/>
                        </a:lnTo>
                        <a:lnTo>
                          <a:pt x="117" y="120"/>
                        </a:lnTo>
                        <a:lnTo>
                          <a:pt x="117" y="120"/>
                        </a:lnTo>
                        <a:lnTo>
                          <a:pt x="117" y="132"/>
                        </a:lnTo>
                        <a:lnTo>
                          <a:pt x="117" y="137"/>
                        </a:lnTo>
                        <a:lnTo>
                          <a:pt x="115" y="143"/>
                        </a:lnTo>
                        <a:lnTo>
                          <a:pt x="115" y="143"/>
                        </a:lnTo>
                        <a:lnTo>
                          <a:pt x="112" y="151"/>
                        </a:lnTo>
                        <a:lnTo>
                          <a:pt x="111" y="159"/>
                        </a:lnTo>
                        <a:lnTo>
                          <a:pt x="111" y="165"/>
                        </a:lnTo>
                        <a:lnTo>
                          <a:pt x="112" y="173"/>
                        </a:lnTo>
                        <a:lnTo>
                          <a:pt x="115" y="179"/>
                        </a:lnTo>
                        <a:lnTo>
                          <a:pt x="118" y="185"/>
                        </a:lnTo>
                        <a:lnTo>
                          <a:pt x="128" y="200"/>
                        </a:lnTo>
                        <a:lnTo>
                          <a:pt x="128" y="200"/>
                        </a:lnTo>
                        <a:lnTo>
                          <a:pt x="143" y="221"/>
                        </a:lnTo>
                        <a:lnTo>
                          <a:pt x="160" y="238"/>
                        </a:lnTo>
                        <a:lnTo>
                          <a:pt x="160" y="238"/>
                        </a:lnTo>
                        <a:lnTo>
                          <a:pt x="165" y="246"/>
                        </a:lnTo>
                        <a:lnTo>
                          <a:pt x="168" y="253"/>
                        </a:lnTo>
                        <a:lnTo>
                          <a:pt x="168" y="263"/>
                        </a:lnTo>
                        <a:lnTo>
                          <a:pt x="165" y="270"/>
                        </a:lnTo>
                        <a:lnTo>
                          <a:pt x="165" y="270"/>
                        </a:lnTo>
                        <a:lnTo>
                          <a:pt x="157" y="281"/>
                        </a:lnTo>
                        <a:lnTo>
                          <a:pt x="151" y="288"/>
                        </a:lnTo>
                        <a:lnTo>
                          <a:pt x="145" y="292"/>
                        </a:lnTo>
                        <a:lnTo>
                          <a:pt x="145" y="292"/>
                        </a:lnTo>
                        <a:lnTo>
                          <a:pt x="128" y="302"/>
                        </a:lnTo>
                        <a:lnTo>
                          <a:pt x="111" y="308"/>
                        </a:lnTo>
                        <a:lnTo>
                          <a:pt x="109" y="308"/>
                        </a:lnTo>
                        <a:lnTo>
                          <a:pt x="109" y="308"/>
                        </a:lnTo>
                        <a:lnTo>
                          <a:pt x="87" y="316"/>
                        </a:lnTo>
                        <a:lnTo>
                          <a:pt x="87" y="316"/>
                        </a:lnTo>
                        <a:lnTo>
                          <a:pt x="70" y="322"/>
                        </a:lnTo>
                        <a:lnTo>
                          <a:pt x="55" y="328"/>
                        </a:lnTo>
                        <a:lnTo>
                          <a:pt x="55" y="328"/>
                        </a:lnTo>
                        <a:lnTo>
                          <a:pt x="47" y="331"/>
                        </a:lnTo>
                        <a:lnTo>
                          <a:pt x="41" y="336"/>
                        </a:lnTo>
                        <a:lnTo>
                          <a:pt x="34" y="342"/>
                        </a:lnTo>
                        <a:lnTo>
                          <a:pt x="30" y="347"/>
                        </a:lnTo>
                        <a:lnTo>
                          <a:pt x="25" y="353"/>
                        </a:lnTo>
                        <a:lnTo>
                          <a:pt x="22" y="361"/>
                        </a:lnTo>
                        <a:lnTo>
                          <a:pt x="19" y="368"/>
                        </a:lnTo>
                        <a:lnTo>
                          <a:pt x="17" y="376"/>
                        </a:lnTo>
                        <a:lnTo>
                          <a:pt x="17" y="376"/>
                        </a:lnTo>
                        <a:lnTo>
                          <a:pt x="14" y="418"/>
                        </a:lnTo>
                        <a:lnTo>
                          <a:pt x="14" y="418"/>
                        </a:lnTo>
                        <a:lnTo>
                          <a:pt x="14" y="431"/>
                        </a:lnTo>
                        <a:lnTo>
                          <a:pt x="14" y="431"/>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p:cNvGrpSpPr/>
                <p:nvPr/>
              </p:nvGrpSpPr>
              <p:grpSpPr>
                <a:xfrm>
                  <a:off x="-1824922" y="3267079"/>
                  <a:ext cx="506105" cy="595116"/>
                  <a:chOff x="7789863" y="4140200"/>
                  <a:chExt cx="315913" cy="371475"/>
                </a:xfrm>
                <a:solidFill>
                  <a:schemeClr val="accent1"/>
                </a:solidFill>
              </p:grpSpPr>
              <p:sp>
                <p:nvSpPr>
                  <p:cNvPr id="19" name="Freeform 234"/>
                  <p:cNvSpPr>
                    <a:spLocks noEditPoints="1"/>
                  </p:cNvSpPr>
                  <p:nvPr/>
                </p:nvSpPr>
                <p:spPr bwMode="auto">
                  <a:xfrm>
                    <a:off x="7867651" y="4175125"/>
                    <a:ext cx="200025" cy="171450"/>
                  </a:xfrm>
                  <a:custGeom>
                    <a:avLst/>
                    <a:gdLst>
                      <a:gd name="T0" fmla="*/ 249 w 254"/>
                      <a:gd name="T1" fmla="*/ 93 h 216"/>
                      <a:gd name="T2" fmla="*/ 232 w 254"/>
                      <a:gd name="T3" fmla="*/ 64 h 216"/>
                      <a:gd name="T4" fmla="*/ 212 w 254"/>
                      <a:gd name="T5" fmla="*/ 45 h 216"/>
                      <a:gd name="T6" fmla="*/ 208 w 254"/>
                      <a:gd name="T7" fmla="*/ 36 h 216"/>
                      <a:gd name="T8" fmla="*/ 188 w 254"/>
                      <a:gd name="T9" fmla="*/ 26 h 216"/>
                      <a:gd name="T10" fmla="*/ 176 w 254"/>
                      <a:gd name="T11" fmla="*/ 16 h 216"/>
                      <a:gd name="T12" fmla="*/ 155 w 254"/>
                      <a:gd name="T13" fmla="*/ 12 h 216"/>
                      <a:gd name="T14" fmla="*/ 126 w 254"/>
                      <a:gd name="T15" fmla="*/ 8 h 216"/>
                      <a:gd name="T16" fmla="*/ 109 w 254"/>
                      <a:gd name="T17" fmla="*/ 0 h 216"/>
                      <a:gd name="T18" fmla="*/ 80 w 254"/>
                      <a:gd name="T19" fmla="*/ 10 h 216"/>
                      <a:gd name="T20" fmla="*/ 54 w 254"/>
                      <a:gd name="T21" fmla="*/ 21 h 216"/>
                      <a:gd name="T22" fmla="*/ 24 w 254"/>
                      <a:gd name="T23" fmla="*/ 40 h 216"/>
                      <a:gd name="T24" fmla="*/ 10 w 254"/>
                      <a:gd name="T25" fmla="*/ 72 h 216"/>
                      <a:gd name="T26" fmla="*/ 3 w 254"/>
                      <a:gd name="T27" fmla="*/ 93 h 216"/>
                      <a:gd name="T28" fmla="*/ 0 w 254"/>
                      <a:gd name="T29" fmla="*/ 119 h 216"/>
                      <a:gd name="T30" fmla="*/ 19 w 254"/>
                      <a:gd name="T31" fmla="*/ 147 h 216"/>
                      <a:gd name="T32" fmla="*/ 35 w 254"/>
                      <a:gd name="T33" fmla="*/ 162 h 216"/>
                      <a:gd name="T34" fmla="*/ 54 w 254"/>
                      <a:gd name="T35" fmla="*/ 165 h 216"/>
                      <a:gd name="T36" fmla="*/ 75 w 254"/>
                      <a:gd name="T37" fmla="*/ 178 h 216"/>
                      <a:gd name="T38" fmla="*/ 91 w 254"/>
                      <a:gd name="T39" fmla="*/ 170 h 216"/>
                      <a:gd name="T40" fmla="*/ 102 w 254"/>
                      <a:gd name="T41" fmla="*/ 178 h 216"/>
                      <a:gd name="T42" fmla="*/ 136 w 254"/>
                      <a:gd name="T43" fmla="*/ 171 h 216"/>
                      <a:gd name="T44" fmla="*/ 141 w 254"/>
                      <a:gd name="T45" fmla="*/ 189 h 216"/>
                      <a:gd name="T46" fmla="*/ 157 w 254"/>
                      <a:gd name="T47" fmla="*/ 197 h 216"/>
                      <a:gd name="T48" fmla="*/ 176 w 254"/>
                      <a:gd name="T49" fmla="*/ 213 h 216"/>
                      <a:gd name="T50" fmla="*/ 192 w 254"/>
                      <a:gd name="T51" fmla="*/ 214 h 216"/>
                      <a:gd name="T52" fmla="*/ 211 w 254"/>
                      <a:gd name="T53" fmla="*/ 194 h 216"/>
                      <a:gd name="T54" fmla="*/ 238 w 254"/>
                      <a:gd name="T55" fmla="*/ 184 h 216"/>
                      <a:gd name="T56" fmla="*/ 241 w 254"/>
                      <a:gd name="T57" fmla="*/ 168 h 216"/>
                      <a:gd name="T58" fmla="*/ 251 w 254"/>
                      <a:gd name="T59" fmla="*/ 141 h 216"/>
                      <a:gd name="T60" fmla="*/ 254 w 254"/>
                      <a:gd name="T61" fmla="*/ 125 h 216"/>
                      <a:gd name="T62" fmla="*/ 230 w 254"/>
                      <a:gd name="T63" fmla="*/ 143 h 216"/>
                      <a:gd name="T64" fmla="*/ 222 w 254"/>
                      <a:gd name="T65" fmla="*/ 168 h 216"/>
                      <a:gd name="T66" fmla="*/ 193 w 254"/>
                      <a:gd name="T67" fmla="*/ 184 h 216"/>
                      <a:gd name="T68" fmla="*/ 181 w 254"/>
                      <a:gd name="T69" fmla="*/ 192 h 216"/>
                      <a:gd name="T70" fmla="*/ 169 w 254"/>
                      <a:gd name="T71" fmla="*/ 179 h 216"/>
                      <a:gd name="T72" fmla="*/ 155 w 254"/>
                      <a:gd name="T73" fmla="*/ 159 h 216"/>
                      <a:gd name="T74" fmla="*/ 144 w 254"/>
                      <a:gd name="T75" fmla="*/ 152 h 216"/>
                      <a:gd name="T76" fmla="*/ 110 w 254"/>
                      <a:gd name="T77" fmla="*/ 160 h 216"/>
                      <a:gd name="T78" fmla="*/ 101 w 254"/>
                      <a:gd name="T79" fmla="*/ 154 h 216"/>
                      <a:gd name="T80" fmla="*/ 80 w 254"/>
                      <a:gd name="T81" fmla="*/ 154 h 216"/>
                      <a:gd name="T82" fmla="*/ 73 w 254"/>
                      <a:gd name="T83" fmla="*/ 155 h 216"/>
                      <a:gd name="T84" fmla="*/ 45 w 254"/>
                      <a:gd name="T85" fmla="*/ 141 h 216"/>
                      <a:gd name="T86" fmla="*/ 35 w 254"/>
                      <a:gd name="T87" fmla="*/ 138 h 216"/>
                      <a:gd name="T88" fmla="*/ 19 w 254"/>
                      <a:gd name="T89" fmla="*/ 114 h 216"/>
                      <a:gd name="T90" fmla="*/ 22 w 254"/>
                      <a:gd name="T91" fmla="*/ 91 h 216"/>
                      <a:gd name="T92" fmla="*/ 22 w 254"/>
                      <a:gd name="T93" fmla="*/ 85 h 216"/>
                      <a:gd name="T94" fmla="*/ 38 w 254"/>
                      <a:gd name="T95" fmla="*/ 53 h 216"/>
                      <a:gd name="T96" fmla="*/ 72 w 254"/>
                      <a:gd name="T97" fmla="*/ 31 h 216"/>
                      <a:gd name="T98" fmla="*/ 105 w 254"/>
                      <a:gd name="T99" fmla="*/ 20 h 216"/>
                      <a:gd name="T100" fmla="*/ 128 w 254"/>
                      <a:gd name="T101" fmla="*/ 28 h 216"/>
                      <a:gd name="T102" fmla="*/ 144 w 254"/>
                      <a:gd name="T103" fmla="*/ 31 h 216"/>
                      <a:gd name="T104" fmla="*/ 163 w 254"/>
                      <a:gd name="T105" fmla="*/ 32 h 216"/>
                      <a:gd name="T106" fmla="*/ 173 w 254"/>
                      <a:gd name="T107" fmla="*/ 37 h 216"/>
                      <a:gd name="T108" fmla="*/ 190 w 254"/>
                      <a:gd name="T109" fmla="*/ 45 h 216"/>
                      <a:gd name="T110" fmla="*/ 195 w 254"/>
                      <a:gd name="T111" fmla="*/ 52 h 216"/>
                      <a:gd name="T112" fmla="*/ 212 w 254"/>
                      <a:gd name="T113" fmla="*/ 64 h 216"/>
                      <a:gd name="T114" fmla="*/ 224 w 254"/>
                      <a:gd name="T115" fmla="*/ 83 h 216"/>
                      <a:gd name="T116" fmla="*/ 228 w 254"/>
                      <a:gd name="T117" fmla="*/ 104 h 216"/>
                      <a:gd name="T118" fmla="*/ 235 w 254"/>
                      <a:gd name="T119" fmla="*/ 119 h 216"/>
                      <a:gd name="T120" fmla="*/ 230 w 254"/>
                      <a:gd name="T121" fmla="*/ 14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4" h="216">
                        <a:moveTo>
                          <a:pt x="248" y="103"/>
                        </a:moveTo>
                        <a:lnTo>
                          <a:pt x="248" y="103"/>
                        </a:lnTo>
                        <a:lnTo>
                          <a:pt x="248" y="101"/>
                        </a:lnTo>
                        <a:lnTo>
                          <a:pt x="248" y="101"/>
                        </a:lnTo>
                        <a:lnTo>
                          <a:pt x="249" y="93"/>
                        </a:lnTo>
                        <a:lnTo>
                          <a:pt x="249" y="93"/>
                        </a:lnTo>
                        <a:lnTo>
                          <a:pt x="248" y="87"/>
                        </a:lnTo>
                        <a:lnTo>
                          <a:pt x="244" y="80"/>
                        </a:lnTo>
                        <a:lnTo>
                          <a:pt x="241" y="74"/>
                        </a:lnTo>
                        <a:lnTo>
                          <a:pt x="236" y="69"/>
                        </a:lnTo>
                        <a:lnTo>
                          <a:pt x="236" y="69"/>
                        </a:lnTo>
                        <a:lnTo>
                          <a:pt x="232" y="64"/>
                        </a:lnTo>
                        <a:lnTo>
                          <a:pt x="232" y="64"/>
                        </a:lnTo>
                        <a:lnTo>
                          <a:pt x="230" y="58"/>
                        </a:lnTo>
                        <a:lnTo>
                          <a:pt x="227" y="52"/>
                        </a:lnTo>
                        <a:lnTo>
                          <a:pt x="220" y="47"/>
                        </a:lnTo>
                        <a:lnTo>
                          <a:pt x="212" y="45"/>
                        </a:lnTo>
                        <a:lnTo>
                          <a:pt x="212" y="45"/>
                        </a:lnTo>
                        <a:lnTo>
                          <a:pt x="212" y="45"/>
                        </a:lnTo>
                        <a:lnTo>
                          <a:pt x="212" y="45"/>
                        </a:lnTo>
                        <a:lnTo>
                          <a:pt x="211" y="42"/>
                        </a:lnTo>
                        <a:lnTo>
                          <a:pt x="208" y="37"/>
                        </a:lnTo>
                        <a:lnTo>
                          <a:pt x="208" y="37"/>
                        </a:lnTo>
                        <a:lnTo>
                          <a:pt x="208" y="36"/>
                        </a:lnTo>
                        <a:lnTo>
                          <a:pt x="208" y="36"/>
                        </a:lnTo>
                        <a:lnTo>
                          <a:pt x="201" y="29"/>
                        </a:lnTo>
                        <a:lnTo>
                          <a:pt x="196" y="28"/>
                        </a:lnTo>
                        <a:lnTo>
                          <a:pt x="192" y="26"/>
                        </a:lnTo>
                        <a:lnTo>
                          <a:pt x="192" y="26"/>
                        </a:lnTo>
                        <a:lnTo>
                          <a:pt x="188" y="26"/>
                        </a:lnTo>
                        <a:lnTo>
                          <a:pt x="188" y="26"/>
                        </a:lnTo>
                        <a:lnTo>
                          <a:pt x="184" y="21"/>
                        </a:lnTo>
                        <a:lnTo>
                          <a:pt x="182" y="20"/>
                        </a:lnTo>
                        <a:lnTo>
                          <a:pt x="177" y="18"/>
                        </a:lnTo>
                        <a:lnTo>
                          <a:pt x="177" y="18"/>
                        </a:lnTo>
                        <a:lnTo>
                          <a:pt x="176" y="16"/>
                        </a:lnTo>
                        <a:lnTo>
                          <a:pt x="176" y="16"/>
                        </a:lnTo>
                        <a:lnTo>
                          <a:pt x="168" y="15"/>
                        </a:lnTo>
                        <a:lnTo>
                          <a:pt x="161" y="13"/>
                        </a:lnTo>
                        <a:lnTo>
                          <a:pt x="157" y="15"/>
                        </a:lnTo>
                        <a:lnTo>
                          <a:pt x="157" y="15"/>
                        </a:lnTo>
                        <a:lnTo>
                          <a:pt x="155" y="12"/>
                        </a:lnTo>
                        <a:lnTo>
                          <a:pt x="153" y="8"/>
                        </a:lnTo>
                        <a:lnTo>
                          <a:pt x="153" y="8"/>
                        </a:lnTo>
                        <a:lnTo>
                          <a:pt x="147" y="5"/>
                        </a:lnTo>
                        <a:lnTo>
                          <a:pt x="141" y="4"/>
                        </a:lnTo>
                        <a:lnTo>
                          <a:pt x="133" y="5"/>
                        </a:lnTo>
                        <a:lnTo>
                          <a:pt x="126" y="8"/>
                        </a:lnTo>
                        <a:lnTo>
                          <a:pt x="126" y="8"/>
                        </a:lnTo>
                        <a:lnTo>
                          <a:pt x="123" y="5"/>
                        </a:lnTo>
                        <a:lnTo>
                          <a:pt x="123" y="5"/>
                        </a:lnTo>
                        <a:lnTo>
                          <a:pt x="117" y="2"/>
                        </a:lnTo>
                        <a:lnTo>
                          <a:pt x="109" y="0"/>
                        </a:lnTo>
                        <a:lnTo>
                          <a:pt x="109" y="0"/>
                        </a:lnTo>
                        <a:lnTo>
                          <a:pt x="102" y="2"/>
                        </a:lnTo>
                        <a:lnTo>
                          <a:pt x="97" y="4"/>
                        </a:lnTo>
                        <a:lnTo>
                          <a:pt x="93" y="7"/>
                        </a:lnTo>
                        <a:lnTo>
                          <a:pt x="93" y="7"/>
                        </a:lnTo>
                        <a:lnTo>
                          <a:pt x="88" y="8"/>
                        </a:lnTo>
                        <a:lnTo>
                          <a:pt x="80" y="10"/>
                        </a:lnTo>
                        <a:lnTo>
                          <a:pt x="80" y="10"/>
                        </a:lnTo>
                        <a:lnTo>
                          <a:pt x="69" y="12"/>
                        </a:lnTo>
                        <a:lnTo>
                          <a:pt x="62" y="13"/>
                        </a:lnTo>
                        <a:lnTo>
                          <a:pt x="58" y="18"/>
                        </a:lnTo>
                        <a:lnTo>
                          <a:pt x="58" y="18"/>
                        </a:lnTo>
                        <a:lnTo>
                          <a:pt x="54" y="21"/>
                        </a:lnTo>
                        <a:lnTo>
                          <a:pt x="54" y="21"/>
                        </a:lnTo>
                        <a:lnTo>
                          <a:pt x="46" y="28"/>
                        </a:lnTo>
                        <a:lnTo>
                          <a:pt x="35" y="32"/>
                        </a:lnTo>
                        <a:lnTo>
                          <a:pt x="35" y="32"/>
                        </a:lnTo>
                        <a:lnTo>
                          <a:pt x="29" y="36"/>
                        </a:lnTo>
                        <a:lnTo>
                          <a:pt x="24" y="40"/>
                        </a:lnTo>
                        <a:lnTo>
                          <a:pt x="19" y="48"/>
                        </a:lnTo>
                        <a:lnTo>
                          <a:pt x="19" y="60"/>
                        </a:lnTo>
                        <a:lnTo>
                          <a:pt x="19" y="60"/>
                        </a:lnTo>
                        <a:lnTo>
                          <a:pt x="18" y="63"/>
                        </a:lnTo>
                        <a:lnTo>
                          <a:pt x="10" y="72"/>
                        </a:lnTo>
                        <a:lnTo>
                          <a:pt x="10" y="72"/>
                        </a:lnTo>
                        <a:lnTo>
                          <a:pt x="5" y="79"/>
                        </a:lnTo>
                        <a:lnTo>
                          <a:pt x="3" y="82"/>
                        </a:lnTo>
                        <a:lnTo>
                          <a:pt x="3" y="90"/>
                        </a:lnTo>
                        <a:lnTo>
                          <a:pt x="3" y="90"/>
                        </a:lnTo>
                        <a:lnTo>
                          <a:pt x="3" y="93"/>
                        </a:lnTo>
                        <a:lnTo>
                          <a:pt x="3" y="93"/>
                        </a:lnTo>
                        <a:lnTo>
                          <a:pt x="2" y="101"/>
                        </a:lnTo>
                        <a:lnTo>
                          <a:pt x="2" y="101"/>
                        </a:lnTo>
                        <a:lnTo>
                          <a:pt x="2" y="109"/>
                        </a:lnTo>
                        <a:lnTo>
                          <a:pt x="2" y="109"/>
                        </a:lnTo>
                        <a:lnTo>
                          <a:pt x="0" y="114"/>
                        </a:lnTo>
                        <a:lnTo>
                          <a:pt x="0" y="119"/>
                        </a:lnTo>
                        <a:lnTo>
                          <a:pt x="3" y="128"/>
                        </a:lnTo>
                        <a:lnTo>
                          <a:pt x="8" y="139"/>
                        </a:lnTo>
                        <a:lnTo>
                          <a:pt x="10" y="143"/>
                        </a:lnTo>
                        <a:lnTo>
                          <a:pt x="13" y="144"/>
                        </a:lnTo>
                        <a:lnTo>
                          <a:pt x="13" y="144"/>
                        </a:lnTo>
                        <a:lnTo>
                          <a:pt x="19" y="147"/>
                        </a:lnTo>
                        <a:lnTo>
                          <a:pt x="19" y="147"/>
                        </a:lnTo>
                        <a:lnTo>
                          <a:pt x="21" y="154"/>
                        </a:lnTo>
                        <a:lnTo>
                          <a:pt x="24" y="159"/>
                        </a:lnTo>
                        <a:lnTo>
                          <a:pt x="29" y="162"/>
                        </a:lnTo>
                        <a:lnTo>
                          <a:pt x="35" y="162"/>
                        </a:lnTo>
                        <a:lnTo>
                          <a:pt x="35" y="162"/>
                        </a:lnTo>
                        <a:lnTo>
                          <a:pt x="43" y="162"/>
                        </a:lnTo>
                        <a:lnTo>
                          <a:pt x="43" y="162"/>
                        </a:lnTo>
                        <a:lnTo>
                          <a:pt x="45" y="160"/>
                        </a:lnTo>
                        <a:lnTo>
                          <a:pt x="45" y="160"/>
                        </a:lnTo>
                        <a:lnTo>
                          <a:pt x="51" y="162"/>
                        </a:lnTo>
                        <a:lnTo>
                          <a:pt x="54" y="165"/>
                        </a:lnTo>
                        <a:lnTo>
                          <a:pt x="61" y="170"/>
                        </a:lnTo>
                        <a:lnTo>
                          <a:pt x="61" y="170"/>
                        </a:lnTo>
                        <a:lnTo>
                          <a:pt x="67" y="175"/>
                        </a:lnTo>
                        <a:lnTo>
                          <a:pt x="70" y="176"/>
                        </a:lnTo>
                        <a:lnTo>
                          <a:pt x="75" y="178"/>
                        </a:lnTo>
                        <a:lnTo>
                          <a:pt x="75" y="178"/>
                        </a:lnTo>
                        <a:lnTo>
                          <a:pt x="81" y="176"/>
                        </a:lnTo>
                        <a:lnTo>
                          <a:pt x="86" y="173"/>
                        </a:lnTo>
                        <a:lnTo>
                          <a:pt x="86" y="173"/>
                        </a:lnTo>
                        <a:lnTo>
                          <a:pt x="89" y="170"/>
                        </a:lnTo>
                        <a:lnTo>
                          <a:pt x="89" y="170"/>
                        </a:lnTo>
                        <a:lnTo>
                          <a:pt x="91" y="170"/>
                        </a:lnTo>
                        <a:lnTo>
                          <a:pt x="91" y="170"/>
                        </a:lnTo>
                        <a:lnTo>
                          <a:pt x="93" y="171"/>
                        </a:lnTo>
                        <a:lnTo>
                          <a:pt x="94" y="173"/>
                        </a:lnTo>
                        <a:lnTo>
                          <a:pt x="94" y="173"/>
                        </a:lnTo>
                        <a:lnTo>
                          <a:pt x="97" y="176"/>
                        </a:lnTo>
                        <a:lnTo>
                          <a:pt x="102" y="178"/>
                        </a:lnTo>
                        <a:lnTo>
                          <a:pt x="110" y="179"/>
                        </a:lnTo>
                        <a:lnTo>
                          <a:pt x="118" y="178"/>
                        </a:lnTo>
                        <a:lnTo>
                          <a:pt x="125" y="173"/>
                        </a:lnTo>
                        <a:lnTo>
                          <a:pt x="125" y="173"/>
                        </a:lnTo>
                        <a:lnTo>
                          <a:pt x="128" y="173"/>
                        </a:lnTo>
                        <a:lnTo>
                          <a:pt x="136" y="171"/>
                        </a:lnTo>
                        <a:lnTo>
                          <a:pt x="136" y="173"/>
                        </a:lnTo>
                        <a:lnTo>
                          <a:pt x="136" y="173"/>
                        </a:lnTo>
                        <a:lnTo>
                          <a:pt x="134" y="179"/>
                        </a:lnTo>
                        <a:lnTo>
                          <a:pt x="137" y="186"/>
                        </a:lnTo>
                        <a:lnTo>
                          <a:pt x="137" y="186"/>
                        </a:lnTo>
                        <a:lnTo>
                          <a:pt x="141" y="189"/>
                        </a:lnTo>
                        <a:lnTo>
                          <a:pt x="144" y="190"/>
                        </a:lnTo>
                        <a:lnTo>
                          <a:pt x="147" y="190"/>
                        </a:lnTo>
                        <a:lnTo>
                          <a:pt x="147" y="190"/>
                        </a:lnTo>
                        <a:lnTo>
                          <a:pt x="153" y="189"/>
                        </a:lnTo>
                        <a:lnTo>
                          <a:pt x="153" y="189"/>
                        </a:lnTo>
                        <a:lnTo>
                          <a:pt x="157" y="197"/>
                        </a:lnTo>
                        <a:lnTo>
                          <a:pt x="157" y="197"/>
                        </a:lnTo>
                        <a:lnTo>
                          <a:pt x="160" y="200"/>
                        </a:lnTo>
                        <a:lnTo>
                          <a:pt x="165" y="205"/>
                        </a:lnTo>
                        <a:lnTo>
                          <a:pt x="171" y="208"/>
                        </a:lnTo>
                        <a:lnTo>
                          <a:pt x="171" y="208"/>
                        </a:lnTo>
                        <a:lnTo>
                          <a:pt x="176" y="213"/>
                        </a:lnTo>
                        <a:lnTo>
                          <a:pt x="176" y="213"/>
                        </a:lnTo>
                        <a:lnTo>
                          <a:pt x="182" y="216"/>
                        </a:lnTo>
                        <a:lnTo>
                          <a:pt x="185" y="216"/>
                        </a:lnTo>
                        <a:lnTo>
                          <a:pt x="185" y="216"/>
                        </a:lnTo>
                        <a:lnTo>
                          <a:pt x="185" y="216"/>
                        </a:lnTo>
                        <a:lnTo>
                          <a:pt x="192" y="214"/>
                        </a:lnTo>
                        <a:lnTo>
                          <a:pt x="196" y="211"/>
                        </a:lnTo>
                        <a:lnTo>
                          <a:pt x="203" y="203"/>
                        </a:lnTo>
                        <a:lnTo>
                          <a:pt x="203" y="203"/>
                        </a:lnTo>
                        <a:lnTo>
                          <a:pt x="208" y="197"/>
                        </a:lnTo>
                        <a:lnTo>
                          <a:pt x="208" y="197"/>
                        </a:lnTo>
                        <a:lnTo>
                          <a:pt x="211" y="194"/>
                        </a:lnTo>
                        <a:lnTo>
                          <a:pt x="216" y="192"/>
                        </a:lnTo>
                        <a:lnTo>
                          <a:pt x="225" y="190"/>
                        </a:lnTo>
                        <a:lnTo>
                          <a:pt x="225" y="190"/>
                        </a:lnTo>
                        <a:lnTo>
                          <a:pt x="233" y="189"/>
                        </a:lnTo>
                        <a:lnTo>
                          <a:pt x="238" y="184"/>
                        </a:lnTo>
                        <a:lnTo>
                          <a:pt x="238" y="184"/>
                        </a:lnTo>
                        <a:lnTo>
                          <a:pt x="241" y="181"/>
                        </a:lnTo>
                        <a:lnTo>
                          <a:pt x="241" y="176"/>
                        </a:lnTo>
                        <a:lnTo>
                          <a:pt x="241" y="170"/>
                        </a:lnTo>
                        <a:lnTo>
                          <a:pt x="241" y="170"/>
                        </a:lnTo>
                        <a:lnTo>
                          <a:pt x="241" y="168"/>
                        </a:lnTo>
                        <a:lnTo>
                          <a:pt x="241" y="168"/>
                        </a:lnTo>
                        <a:lnTo>
                          <a:pt x="241" y="162"/>
                        </a:lnTo>
                        <a:lnTo>
                          <a:pt x="243" y="159"/>
                        </a:lnTo>
                        <a:lnTo>
                          <a:pt x="243" y="159"/>
                        </a:lnTo>
                        <a:lnTo>
                          <a:pt x="246" y="154"/>
                        </a:lnTo>
                        <a:lnTo>
                          <a:pt x="249" y="149"/>
                        </a:lnTo>
                        <a:lnTo>
                          <a:pt x="251" y="141"/>
                        </a:lnTo>
                        <a:lnTo>
                          <a:pt x="249" y="138"/>
                        </a:lnTo>
                        <a:lnTo>
                          <a:pt x="248" y="135"/>
                        </a:lnTo>
                        <a:lnTo>
                          <a:pt x="248" y="135"/>
                        </a:lnTo>
                        <a:lnTo>
                          <a:pt x="249" y="131"/>
                        </a:lnTo>
                        <a:lnTo>
                          <a:pt x="249" y="131"/>
                        </a:lnTo>
                        <a:lnTo>
                          <a:pt x="254" y="125"/>
                        </a:lnTo>
                        <a:lnTo>
                          <a:pt x="254" y="117"/>
                        </a:lnTo>
                        <a:lnTo>
                          <a:pt x="252" y="109"/>
                        </a:lnTo>
                        <a:lnTo>
                          <a:pt x="248" y="103"/>
                        </a:lnTo>
                        <a:lnTo>
                          <a:pt x="248" y="103"/>
                        </a:lnTo>
                        <a:close/>
                        <a:moveTo>
                          <a:pt x="230" y="143"/>
                        </a:moveTo>
                        <a:lnTo>
                          <a:pt x="230" y="143"/>
                        </a:lnTo>
                        <a:lnTo>
                          <a:pt x="228" y="146"/>
                        </a:lnTo>
                        <a:lnTo>
                          <a:pt x="228" y="146"/>
                        </a:lnTo>
                        <a:lnTo>
                          <a:pt x="224" y="152"/>
                        </a:lnTo>
                        <a:lnTo>
                          <a:pt x="222" y="157"/>
                        </a:lnTo>
                        <a:lnTo>
                          <a:pt x="222" y="168"/>
                        </a:lnTo>
                        <a:lnTo>
                          <a:pt x="222" y="168"/>
                        </a:lnTo>
                        <a:lnTo>
                          <a:pt x="222" y="171"/>
                        </a:lnTo>
                        <a:lnTo>
                          <a:pt x="222" y="171"/>
                        </a:lnTo>
                        <a:lnTo>
                          <a:pt x="214" y="173"/>
                        </a:lnTo>
                        <a:lnTo>
                          <a:pt x="206" y="175"/>
                        </a:lnTo>
                        <a:lnTo>
                          <a:pt x="200" y="179"/>
                        </a:lnTo>
                        <a:lnTo>
                          <a:pt x="193" y="184"/>
                        </a:lnTo>
                        <a:lnTo>
                          <a:pt x="193" y="184"/>
                        </a:lnTo>
                        <a:lnTo>
                          <a:pt x="187" y="192"/>
                        </a:lnTo>
                        <a:lnTo>
                          <a:pt x="187" y="192"/>
                        </a:lnTo>
                        <a:lnTo>
                          <a:pt x="185" y="195"/>
                        </a:lnTo>
                        <a:lnTo>
                          <a:pt x="185" y="195"/>
                        </a:lnTo>
                        <a:lnTo>
                          <a:pt x="181" y="192"/>
                        </a:lnTo>
                        <a:lnTo>
                          <a:pt x="181" y="192"/>
                        </a:lnTo>
                        <a:lnTo>
                          <a:pt x="176" y="189"/>
                        </a:lnTo>
                        <a:lnTo>
                          <a:pt x="173" y="186"/>
                        </a:lnTo>
                        <a:lnTo>
                          <a:pt x="173" y="186"/>
                        </a:lnTo>
                        <a:lnTo>
                          <a:pt x="169" y="179"/>
                        </a:lnTo>
                        <a:lnTo>
                          <a:pt x="169" y="179"/>
                        </a:lnTo>
                        <a:lnTo>
                          <a:pt x="165" y="173"/>
                        </a:lnTo>
                        <a:lnTo>
                          <a:pt x="161" y="171"/>
                        </a:lnTo>
                        <a:lnTo>
                          <a:pt x="157" y="170"/>
                        </a:lnTo>
                        <a:lnTo>
                          <a:pt x="157" y="170"/>
                        </a:lnTo>
                        <a:lnTo>
                          <a:pt x="158" y="163"/>
                        </a:lnTo>
                        <a:lnTo>
                          <a:pt x="155" y="159"/>
                        </a:lnTo>
                        <a:lnTo>
                          <a:pt x="155" y="159"/>
                        </a:lnTo>
                        <a:lnTo>
                          <a:pt x="152" y="155"/>
                        </a:lnTo>
                        <a:lnTo>
                          <a:pt x="149" y="154"/>
                        </a:lnTo>
                        <a:lnTo>
                          <a:pt x="144" y="152"/>
                        </a:lnTo>
                        <a:lnTo>
                          <a:pt x="144" y="152"/>
                        </a:lnTo>
                        <a:lnTo>
                          <a:pt x="144" y="152"/>
                        </a:lnTo>
                        <a:lnTo>
                          <a:pt x="141" y="152"/>
                        </a:lnTo>
                        <a:lnTo>
                          <a:pt x="137" y="152"/>
                        </a:lnTo>
                        <a:lnTo>
                          <a:pt x="137" y="152"/>
                        </a:lnTo>
                        <a:lnTo>
                          <a:pt x="123" y="154"/>
                        </a:lnTo>
                        <a:lnTo>
                          <a:pt x="117" y="155"/>
                        </a:lnTo>
                        <a:lnTo>
                          <a:pt x="110" y="160"/>
                        </a:lnTo>
                        <a:lnTo>
                          <a:pt x="110" y="160"/>
                        </a:lnTo>
                        <a:lnTo>
                          <a:pt x="109" y="160"/>
                        </a:lnTo>
                        <a:lnTo>
                          <a:pt x="109" y="160"/>
                        </a:lnTo>
                        <a:lnTo>
                          <a:pt x="107" y="159"/>
                        </a:lnTo>
                        <a:lnTo>
                          <a:pt x="107" y="159"/>
                        </a:lnTo>
                        <a:lnTo>
                          <a:pt x="101" y="154"/>
                        </a:lnTo>
                        <a:lnTo>
                          <a:pt x="96" y="151"/>
                        </a:lnTo>
                        <a:lnTo>
                          <a:pt x="91" y="151"/>
                        </a:lnTo>
                        <a:lnTo>
                          <a:pt x="91" y="151"/>
                        </a:lnTo>
                        <a:lnTo>
                          <a:pt x="86" y="151"/>
                        </a:lnTo>
                        <a:lnTo>
                          <a:pt x="80" y="154"/>
                        </a:lnTo>
                        <a:lnTo>
                          <a:pt x="80" y="154"/>
                        </a:lnTo>
                        <a:lnTo>
                          <a:pt x="75" y="157"/>
                        </a:lnTo>
                        <a:lnTo>
                          <a:pt x="75" y="157"/>
                        </a:lnTo>
                        <a:lnTo>
                          <a:pt x="75" y="157"/>
                        </a:lnTo>
                        <a:lnTo>
                          <a:pt x="75" y="157"/>
                        </a:lnTo>
                        <a:lnTo>
                          <a:pt x="73" y="155"/>
                        </a:lnTo>
                        <a:lnTo>
                          <a:pt x="73" y="155"/>
                        </a:lnTo>
                        <a:lnTo>
                          <a:pt x="67" y="151"/>
                        </a:lnTo>
                        <a:lnTo>
                          <a:pt x="59" y="146"/>
                        </a:lnTo>
                        <a:lnTo>
                          <a:pt x="51" y="143"/>
                        </a:lnTo>
                        <a:lnTo>
                          <a:pt x="45" y="141"/>
                        </a:lnTo>
                        <a:lnTo>
                          <a:pt x="45" y="141"/>
                        </a:lnTo>
                        <a:lnTo>
                          <a:pt x="45" y="141"/>
                        </a:lnTo>
                        <a:lnTo>
                          <a:pt x="45" y="141"/>
                        </a:lnTo>
                        <a:lnTo>
                          <a:pt x="40" y="143"/>
                        </a:lnTo>
                        <a:lnTo>
                          <a:pt x="40" y="143"/>
                        </a:lnTo>
                        <a:lnTo>
                          <a:pt x="38" y="143"/>
                        </a:lnTo>
                        <a:lnTo>
                          <a:pt x="38" y="143"/>
                        </a:lnTo>
                        <a:lnTo>
                          <a:pt x="35" y="138"/>
                        </a:lnTo>
                        <a:lnTo>
                          <a:pt x="32" y="133"/>
                        </a:lnTo>
                        <a:lnTo>
                          <a:pt x="22" y="128"/>
                        </a:lnTo>
                        <a:lnTo>
                          <a:pt x="22" y="128"/>
                        </a:lnTo>
                        <a:lnTo>
                          <a:pt x="21" y="120"/>
                        </a:lnTo>
                        <a:lnTo>
                          <a:pt x="19" y="114"/>
                        </a:lnTo>
                        <a:lnTo>
                          <a:pt x="19" y="114"/>
                        </a:lnTo>
                        <a:lnTo>
                          <a:pt x="21" y="107"/>
                        </a:lnTo>
                        <a:lnTo>
                          <a:pt x="21" y="103"/>
                        </a:lnTo>
                        <a:lnTo>
                          <a:pt x="21" y="103"/>
                        </a:lnTo>
                        <a:lnTo>
                          <a:pt x="22" y="96"/>
                        </a:lnTo>
                        <a:lnTo>
                          <a:pt x="22" y="96"/>
                        </a:lnTo>
                        <a:lnTo>
                          <a:pt x="22" y="91"/>
                        </a:lnTo>
                        <a:lnTo>
                          <a:pt x="22" y="88"/>
                        </a:lnTo>
                        <a:lnTo>
                          <a:pt x="22" y="88"/>
                        </a:lnTo>
                        <a:lnTo>
                          <a:pt x="22" y="87"/>
                        </a:lnTo>
                        <a:lnTo>
                          <a:pt x="22" y="87"/>
                        </a:lnTo>
                        <a:lnTo>
                          <a:pt x="22" y="85"/>
                        </a:lnTo>
                        <a:lnTo>
                          <a:pt x="22" y="85"/>
                        </a:lnTo>
                        <a:lnTo>
                          <a:pt x="30" y="77"/>
                        </a:lnTo>
                        <a:lnTo>
                          <a:pt x="34" y="71"/>
                        </a:lnTo>
                        <a:lnTo>
                          <a:pt x="37" y="64"/>
                        </a:lnTo>
                        <a:lnTo>
                          <a:pt x="37" y="58"/>
                        </a:lnTo>
                        <a:lnTo>
                          <a:pt x="37" y="58"/>
                        </a:lnTo>
                        <a:lnTo>
                          <a:pt x="38" y="53"/>
                        </a:lnTo>
                        <a:lnTo>
                          <a:pt x="42" y="52"/>
                        </a:lnTo>
                        <a:lnTo>
                          <a:pt x="42" y="52"/>
                        </a:lnTo>
                        <a:lnTo>
                          <a:pt x="54" y="45"/>
                        </a:lnTo>
                        <a:lnTo>
                          <a:pt x="64" y="39"/>
                        </a:lnTo>
                        <a:lnTo>
                          <a:pt x="69" y="34"/>
                        </a:lnTo>
                        <a:lnTo>
                          <a:pt x="72" y="31"/>
                        </a:lnTo>
                        <a:lnTo>
                          <a:pt x="72" y="31"/>
                        </a:lnTo>
                        <a:lnTo>
                          <a:pt x="80" y="29"/>
                        </a:lnTo>
                        <a:lnTo>
                          <a:pt x="80" y="29"/>
                        </a:lnTo>
                        <a:lnTo>
                          <a:pt x="89" y="28"/>
                        </a:lnTo>
                        <a:lnTo>
                          <a:pt x="99" y="24"/>
                        </a:lnTo>
                        <a:lnTo>
                          <a:pt x="105" y="20"/>
                        </a:lnTo>
                        <a:lnTo>
                          <a:pt x="105" y="20"/>
                        </a:lnTo>
                        <a:lnTo>
                          <a:pt x="110" y="20"/>
                        </a:lnTo>
                        <a:lnTo>
                          <a:pt x="110" y="20"/>
                        </a:lnTo>
                        <a:lnTo>
                          <a:pt x="118" y="24"/>
                        </a:lnTo>
                        <a:lnTo>
                          <a:pt x="123" y="26"/>
                        </a:lnTo>
                        <a:lnTo>
                          <a:pt x="128" y="28"/>
                        </a:lnTo>
                        <a:lnTo>
                          <a:pt x="128" y="28"/>
                        </a:lnTo>
                        <a:lnTo>
                          <a:pt x="134" y="26"/>
                        </a:lnTo>
                        <a:lnTo>
                          <a:pt x="139" y="23"/>
                        </a:lnTo>
                        <a:lnTo>
                          <a:pt x="139" y="23"/>
                        </a:lnTo>
                        <a:lnTo>
                          <a:pt x="141" y="26"/>
                        </a:lnTo>
                        <a:lnTo>
                          <a:pt x="144" y="31"/>
                        </a:lnTo>
                        <a:lnTo>
                          <a:pt x="147" y="34"/>
                        </a:lnTo>
                        <a:lnTo>
                          <a:pt x="153" y="36"/>
                        </a:lnTo>
                        <a:lnTo>
                          <a:pt x="153" y="36"/>
                        </a:lnTo>
                        <a:lnTo>
                          <a:pt x="161" y="34"/>
                        </a:lnTo>
                        <a:lnTo>
                          <a:pt x="161" y="34"/>
                        </a:lnTo>
                        <a:lnTo>
                          <a:pt x="163" y="32"/>
                        </a:lnTo>
                        <a:lnTo>
                          <a:pt x="163" y="32"/>
                        </a:lnTo>
                        <a:lnTo>
                          <a:pt x="168" y="34"/>
                        </a:lnTo>
                        <a:lnTo>
                          <a:pt x="168" y="34"/>
                        </a:lnTo>
                        <a:lnTo>
                          <a:pt x="171" y="36"/>
                        </a:lnTo>
                        <a:lnTo>
                          <a:pt x="171" y="36"/>
                        </a:lnTo>
                        <a:lnTo>
                          <a:pt x="173" y="37"/>
                        </a:lnTo>
                        <a:lnTo>
                          <a:pt x="173" y="37"/>
                        </a:lnTo>
                        <a:lnTo>
                          <a:pt x="177" y="44"/>
                        </a:lnTo>
                        <a:lnTo>
                          <a:pt x="182" y="45"/>
                        </a:lnTo>
                        <a:lnTo>
                          <a:pt x="187" y="47"/>
                        </a:lnTo>
                        <a:lnTo>
                          <a:pt x="187" y="47"/>
                        </a:lnTo>
                        <a:lnTo>
                          <a:pt x="190" y="45"/>
                        </a:lnTo>
                        <a:lnTo>
                          <a:pt x="190" y="45"/>
                        </a:lnTo>
                        <a:lnTo>
                          <a:pt x="192" y="47"/>
                        </a:lnTo>
                        <a:lnTo>
                          <a:pt x="192" y="47"/>
                        </a:lnTo>
                        <a:lnTo>
                          <a:pt x="195" y="50"/>
                        </a:lnTo>
                        <a:lnTo>
                          <a:pt x="195" y="50"/>
                        </a:lnTo>
                        <a:lnTo>
                          <a:pt x="195" y="52"/>
                        </a:lnTo>
                        <a:lnTo>
                          <a:pt x="195" y="52"/>
                        </a:lnTo>
                        <a:lnTo>
                          <a:pt x="196" y="56"/>
                        </a:lnTo>
                        <a:lnTo>
                          <a:pt x="200" y="60"/>
                        </a:lnTo>
                        <a:lnTo>
                          <a:pt x="204" y="63"/>
                        </a:lnTo>
                        <a:lnTo>
                          <a:pt x="212" y="64"/>
                        </a:lnTo>
                        <a:lnTo>
                          <a:pt x="212" y="64"/>
                        </a:lnTo>
                        <a:lnTo>
                          <a:pt x="212" y="66"/>
                        </a:lnTo>
                        <a:lnTo>
                          <a:pt x="212" y="66"/>
                        </a:lnTo>
                        <a:lnTo>
                          <a:pt x="214" y="71"/>
                        </a:lnTo>
                        <a:lnTo>
                          <a:pt x="217" y="75"/>
                        </a:lnTo>
                        <a:lnTo>
                          <a:pt x="224" y="83"/>
                        </a:lnTo>
                        <a:lnTo>
                          <a:pt x="224" y="83"/>
                        </a:lnTo>
                        <a:lnTo>
                          <a:pt x="227" y="88"/>
                        </a:lnTo>
                        <a:lnTo>
                          <a:pt x="230" y="95"/>
                        </a:lnTo>
                        <a:lnTo>
                          <a:pt x="230" y="95"/>
                        </a:lnTo>
                        <a:lnTo>
                          <a:pt x="230" y="96"/>
                        </a:lnTo>
                        <a:lnTo>
                          <a:pt x="230" y="96"/>
                        </a:lnTo>
                        <a:lnTo>
                          <a:pt x="228" y="104"/>
                        </a:lnTo>
                        <a:lnTo>
                          <a:pt x="230" y="111"/>
                        </a:lnTo>
                        <a:lnTo>
                          <a:pt x="233" y="115"/>
                        </a:lnTo>
                        <a:lnTo>
                          <a:pt x="233" y="115"/>
                        </a:lnTo>
                        <a:lnTo>
                          <a:pt x="235" y="119"/>
                        </a:lnTo>
                        <a:lnTo>
                          <a:pt x="235" y="119"/>
                        </a:lnTo>
                        <a:lnTo>
                          <a:pt x="235" y="119"/>
                        </a:lnTo>
                        <a:lnTo>
                          <a:pt x="235" y="119"/>
                        </a:lnTo>
                        <a:lnTo>
                          <a:pt x="230" y="127"/>
                        </a:lnTo>
                        <a:lnTo>
                          <a:pt x="228" y="133"/>
                        </a:lnTo>
                        <a:lnTo>
                          <a:pt x="228" y="138"/>
                        </a:lnTo>
                        <a:lnTo>
                          <a:pt x="230" y="143"/>
                        </a:lnTo>
                        <a:lnTo>
                          <a:pt x="230" y="14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0" name="Freeform 235"/>
                  <p:cNvSpPr>
                    <a:spLocks noEditPoints="1"/>
                  </p:cNvSpPr>
                  <p:nvPr/>
                </p:nvSpPr>
                <p:spPr bwMode="auto">
                  <a:xfrm>
                    <a:off x="7789863" y="4140200"/>
                    <a:ext cx="315913" cy="371475"/>
                  </a:xfrm>
                  <a:custGeom>
                    <a:avLst/>
                    <a:gdLst>
                      <a:gd name="T0" fmla="*/ 381 w 397"/>
                      <a:gd name="T1" fmla="*/ 85 h 468"/>
                      <a:gd name="T2" fmla="*/ 340 w 397"/>
                      <a:gd name="T3" fmla="*/ 39 h 468"/>
                      <a:gd name="T4" fmla="*/ 260 w 397"/>
                      <a:gd name="T5" fmla="*/ 5 h 468"/>
                      <a:gd name="T6" fmla="*/ 220 w 397"/>
                      <a:gd name="T7" fmla="*/ 0 h 468"/>
                      <a:gd name="T8" fmla="*/ 126 w 397"/>
                      <a:gd name="T9" fmla="*/ 18 h 468"/>
                      <a:gd name="T10" fmla="*/ 71 w 397"/>
                      <a:gd name="T11" fmla="*/ 58 h 468"/>
                      <a:gd name="T12" fmla="*/ 47 w 397"/>
                      <a:gd name="T13" fmla="*/ 106 h 468"/>
                      <a:gd name="T14" fmla="*/ 36 w 397"/>
                      <a:gd name="T15" fmla="*/ 160 h 468"/>
                      <a:gd name="T16" fmla="*/ 12 w 397"/>
                      <a:gd name="T17" fmla="*/ 221 h 468"/>
                      <a:gd name="T18" fmla="*/ 1 w 397"/>
                      <a:gd name="T19" fmla="*/ 238 h 468"/>
                      <a:gd name="T20" fmla="*/ 1 w 397"/>
                      <a:gd name="T21" fmla="*/ 253 h 468"/>
                      <a:gd name="T22" fmla="*/ 22 w 397"/>
                      <a:gd name="T23" fmla="*/ 267 h 468"/>
                      <a:gd name="T24" fmla="*/ 28 w 397"/>
                      <a:gd name="T25" fmla="*/ 272 h 468"/>
                      <a:gd name="T26" fmla="*/ 27 w 397"/>
                      <a:gd name="T27" fmla="*/ 289 h 468"/>
                      <a:gd name="T28" fmla="*/ 35 w 397"/>
                      <a:gd name="T29" fmla="*/ 301 h 468"/>
                      <a:gd name="T30" fmla="*/ 41 w 397"/>
                      <a:gd name="T31" fmla="*/ 323 h 468"/>
                      <a:gd name="T32" fmla="*/ 43 w 397"/>
                      <a:gd name="T33" fmla="*/ 350 h 468"/>
                      <a:gd name="T34" fmla="*/ 68 w 397"/>
                      <a:gd name="T35" fmla="*/ 377 h 468"/>
                      <a:gd name="T36" fmla="*/ 99 w 397"/>
                      <a:gd name="T37" fmla="*/ 380 h 468"/>
                      <a:gd name="T38" fmla="*/ 121 w 397"/>
                      <a:gd name="T39" fmla="*/ 380 h 468"/>
                      <a:gd name="T40" fmla="*/ 132 w 397"/>
                      <a:gd name="T41" fmla="*/ 392 h 468"/>
                      <a:gd name="T42" fmla="*/ 145 w 397"/>
                      <a:gd name="T43" fmla="*/ 428 h 468"/>
                      <a:gd name="T44" fmla="*/ 150 w 397"/>
                      <a:gd name="T45" fmla="*/ 462 h 468"/>
                      <a:gd name="T46" fmla="*/ 158 w 397"/>
                      <a:gd name="T47" fmla="*/ 468 h 468"/>
                      <a:gd name="T48" fmla="*/ 325 w 397"/>
                      <a:gd name="T49" fmla="*/ 419 h 468"/>
                      <a:gd name="T50" fmla="*/ 329 w 397"/>
                      <a:gd name="T51" fmla="*/ 409 h 468"/>
                      <a:gd name="T52" fmla="*/ 330 w 397"/>
                      <a:gd name="T53" fmla="*/ 350 h 468"/>
                      <a:gd name="T54" fmla="*/ 353 w 397"/>
                      <a:gd name="T55" fmla="*/ 283 h 468"/>
                      <a:gd name="T56" fmla="*/ 386 w 397"/>
                      <a:gd name="T57" fmla="*/ 222 h 468"/>
                      <a:gd name="T58" fmla="*/ 397 w 397"/>
                      <a:gd name="T59" fmla="*/ 165 h 468"/>
                      <a:gd name="T60" fmla="*/ 353 w 397"/>
                      <a:gd name="T61" fmla="*/ 245 h 468"/>
                      <a:gd name="T62" fmla="*/ 329 w 397"/>
                      <a:gd name="T63" fmla="*/ 291 h 468"/>
                      <a:gd name="T64" fmla="*/ 309 w 397"/>
                      <a:gd name="T65" fmla="*/ 358 h 468"/>
                      <a:gd name="T66" fmla="*/ 164 w 397"/>
                      <a:gd name="T67" fmla="*/ 446 h 468"/>
                      <a:gd name="T68" fmla="*/ 159 w 397"/>
                      <a:gd name="T69" fmla="*/ 398 h 468"/>
                      <a:gd name="T70" fmla="*/ 139 w 397"/>
                      <a:gd name="T71" fmla="*/ 371 h 468"/>
                      <a:gd name="T72" fmla="*/ 121 w 397"/>
                      <a:gd name="T73" fmla="*/ 360 h 468"/>
                      <a:gd name="T74" fmla="*/ 97 w 397"/>
                      <a:gd name="T75" fmla="*/ 361 h 468"/>
                      <a:gd name="T76" fmla="*/ 76 w 397"/>
                      <a:gd name="T77" fmla="*/ 361 h 468"/>
                      <a:gd name="T78" fmla="*/ 62 w 397"/>
                      <a:gd name="T79" fmla="*/ 345 h 468"/>
                      <a:gd name="T80" fmla="*/ 60 w 397"/>
                      <a:gd name="T81" fmla="*/ 320 h 468"/>
                      <a:gd name="T82" fmla="*/ 52 w 397"/>
                      <a:gd name="T83" fmla="*/ 307 h 468"/>
                      <a:gd name="T84" fmla="*/ 55 w 397"/>
                      <a:gd name="T85" fmla="*/ 301 h 468"/>
                      <a:gd name="T86" fmla="*/ 54 w 397"/>
                      <a:gd name="T87" fmla="*/ 289 h 468"/>
                      <a:gd name="T88" fmla="*/ 46 w 397"/>
                      <a:gd name="T89" fmla="*/ 285 h 468"/>
                      <a:gd name="T90" fmla="*/ 49 w 397"/>
                      <a:gd name="T91" fmla="*/ 270 h 468"/>
                      <a:gd name="T92" fmla="*/ 49 w 397"/>
                      <a:gd name="T93" fmla="*/ 253 h 468"/>
                      <a:gd name="T94" fmla="*/ 32 w 397"/>
                      <a:gd name="T95" fmla="*/ 248 h 468"/>
                      <a:gd name="T96" fmla="*/ 19 w 397"/>
                      <a:gd name="T97" fmla="*/ 246 h 468"/>
                      <a:gd name="T98" fmla="*/ 25 w 397"/>
                      <a:gd name="T99" fmla="*/ 235 h 468"/>
                      <a:gd name="T100" fmla="*/ 52 w 397"/>
                      <a:gd name="T101" fmla="*/ 179 h 468"/>
                      <a:gd name="T102" fmla="*/ 62 w 397"/>
                      <a:gd name="T103" fmla="*/ 122 h 468"/>
                      <a:gd name="T104" fmla="*/ 94 w 397"/>
                      <a:gd name="T105" fmla="*/ 64 h 468"/>
                      <a:gd name="T106" fmla="*/ 143 w 397"/>
                      <a:gd name="T107" fmla="*/ 32 h 468"/>
                      <a:gd name="T108" fmla="*/ 220 w 397"/>
                      <a:gd name="T109" fmla="*/ 19 h 468"/>
                      <a:gd name="T110" fmla="*/ 255 w 397"/>
                      <a:gd name="T111" fmla="*/ 24 h 468"/>
                      <a:gd name="T112" fmla="*/ 325 w 397"/>
                      <a:gd name="T113" fmla="*/ 53 h 468"/>
                      <a:gd name="T114" fmla="*/ 364 w 397"/>
                      <a:gd name="T115" fmla="*/ 93 h 468"/>
                      <a:gd name="T116" fmla="*/ 378 w 397"/>
                      <a:gd name="T117" fmla="*/ 163 h 468"/>
                      <a:gd name="T118" fmla="*/ 369 w 397"/>
                      <a:gd name="T119" fmla="*/ 21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468">
                        <a:moveTo>
                          <a:pt x="391" y="117"/>
                        </a:moveTo>
                        <a:lnTo>
                          <a:pt x="391" y="117"/>
                        </a:lnTo>
                        <a:lnTo>
                          <a:pt x="388" y="101"/>
                        </a:lnTo>
                        <a:lnTo>
                          <a:pt x="381" y="85"/>
                        </a:lnTo>
                        <a:lnTo>
                          <a:pt x="373" y="71"/>
                        </a:lnTo>
                        <a:lnTo>
                          <a:pt x="364" y="59"/>
                        </a:lnTo>
                        <a:lnTo>
                          <a:pt x="353" y="48"/>
                        </a:lnTo>
                        <a:lnTo>
                          <a:pt x="340" y="39"/>
                        </a:lnTo>
                        <a:lnTo>
                          <a:pt x="325" y="31"/>
                        </a:lnTo>
                        <a:lnTo>
                          <a:pt x="313" y="23"/>
                        </a:lnTo>
                        <a:lnTo>
                          <a:pt x="285" y="13"/>
                        </a:lnTo>
                        <a:lnTo>
                          <a:pt x="260" y="5"/>
                        </a:lnTo>
                        <a:lnTo>
                          <a:pt x="239" y="2"/>
                        </a:lnTo>
                        <a:lnTo>
                          <a:pt x="226" y="0"/>
                        </a:lnTo>
                        <a:lnTo>
                          <a:pt x="220" y="0"/>
                        </a:lnTo>
                        <a:lnTo>
                          <a:pt x="220" y="0"/>
                        </a:lnTo>
                        <a:lnTo>
                          <a:pt x="191" y="2"/>
                        </a:lnTo>
                        <a:lnTo>
                          <a:pt x="167" y="5"/>
                        </a:lnTo>
                        <a:lnTo>
                          <a:pt x="145" y="11"/>
                        </a:lnTo>
                        <a:lnTo>
                          <a:pt x="126" y="18"/>
                        </a:lnTo>
                        <a:lnTo>
                          <a:pt x="110" y="26"/>
                        </a:lnTo>
                        <a:lnTo>
                          <a:pt x="95" y="37"/>
                        </a:lnTo>
                        <a:lnTo>
                          <a:pt x="83" y="47"/>
                        </a:lnTo>
                        <a:lnTo>
                          <a:pt x="71" y="58"/>
                        </a:lnTo>
                        <a:lnTo>
                          <a:pt x="63" y="71"/>
                        </a:lnTo>
                        <a:lnTo>
                          <a:pt x="57" y="82"/>
                        </a:lnTo>
                        <a:lnTo>
                          <a:pt x="51" y="93"/>
                        </a:lnTo>
                        <a:lnTo>
                          <a:pt x="47" y="106"/>
                        </a:lnTo>
                        <a:lnTo>
                          <a:pt x="43" y="125"/>
                        </a:lnTo>
                        <a:lnTo>
                          <a:pt x="40" y="141"/>
                        </a:lnTo>
                        <a:lnTo>
                          <a:pt x="40" y="141"/>
                        </a:lnTo>
                        <a:lnTo>
                          <a:pt x="36" y="160"/>
                        </a:lnTo>
                        <a:lnTo>
                          <a:pt x="32" y="184"/>
                        </a:lnTo>
                        <a:lnTo>
                          <a:pt x="22" y="205"/>
                        </a:lnTo>
                        <a:lnTo>
                          <a:pt x="17" y="214"/>
                        </a:lnTo>
                        <a:lnTo>
                          <a:pt x="12" y="221"/>
                        </a:lnTo>
                        <a:lnTo>
                          <a:pt x="12" y="221"/>
                        </a:lnTo>
                        <a:lnTo>
                          <a:pt x="8" y="225"/>
                        </a:lnTo>
                        <a:lnTo>
                          <a:pt x="3" y="233"/>
                        </a:lnTo>
                        <a:lnTo>
                          <a:pt x="1" y="238"/>
                        </a:lnTo>
                        <a:lnTo>
                          <a:pt x="0" y="243"/>
                        </a:lnTo>
                        <a:lnTo>
                          <a:pt x="0" y="248"/>
                        </a:lnTo>
                        <a:lnTo>
                          <a:pt x="1" y="253"/>
                        </a:lnTo>
                        <a:lnTo>
                          <a:pt x="1" y="253"/>
                        </a:lnTo>
                        <a:lnTo>
                          <a:pt x="3" y="257"/>
                        </a:lnTo>
                        <a:lnTo>
                          <a:pt x="6" y="261"/>
                        </a:lnTo>
                        <a:lnTo>
                          <a:pt x="14" y="265"/>
                        </a:lnTo>
                        <a:lnTo>
                          <a:pt x="22" y="267"/>
                        </a:lnTo>
                        <a:lnTo>
                          <a:pt x="30" y="267"/>
                        </a:lnTo>
                        <a:lnTo>
                          <a:pt x="30" y="267"/>
                        </a:lnTo>
                        <a:lnTo>
                          <a:pt x="28" y="272"/>
                        </a:lnTo>
                        <a:lnTo>
                          <a:pt x="28" y="272"/>
                        </a:lnTo>
                        <a:lnTo>
                          <a:pt x="28" y="278"/>
                        </a:lnTo>
                        <a:lnTo>
                          <a:pt x="27" y="285"/>
                        </a:lnTo>
                        <a:lnTo>
                          <a:pt x="27" y="285"/>
                        </a:lnTo>
                        <a:lnTo>
                          <a:pt x="27" y="289"/>
                        </a:lnTo>
                        <a:lnTo>
                          <a:pt x="28" y="293"/>
                        </a:lnTo>
                        <a:lnTo>
                          <a:pt x="32" y="297"/>
                        </a:lnTo>
                        <a:lnTo>
                          <a:pt x="35" y="301"/>
                        </a:lnTo>
                        <a:lnTo>
                          <a:pt x="35" y="301"/>
                        </a:lnTo>
                        <a:lnTo>
                          <a:pt x="33" y="307"/>
                        </a:lnTo>
                        <a:lnTo>
                          <a:pt x="35" y="312"/>
                        </a:lnTo>
                        <a:lnTo>
                          <a:pt x="36" y="318"/>
                        </a:lnTo>
                        <a:lnTo>
                          <a:pt x="41" y="323"/>
                        </a:lnTo>
                        <a:lnTo>
                          <a:pt x="41" y="323"/>
                        </a:lnTo>
                        <a:lnTo>
                          <a:pt x="41" y="339"/>
                        </a:lnTo>
                        <a:lnTo>
                          <a:pt x="41" y="339"/>
                        </a:lnTo>
                        <a:lnTo>
                          <a:pt x="43" y="350"/>
                        </a:lnTo>
                        <a:lnTo>
                          <a:pt x="47" y="360"/>
                        </a:lnTo>
                        <a:lnTo>
                          <a:pt x="52" y="366"/>
                        </a:lnTo>
                        <a:lnTo>
                          <a:pt x="60" y="372"/>
                        </a:lnTo>
                        <a:lnTo>
                          <a:pt x="68" y="377"/>
                        </a:lnTo>
                        <a:lnTo>
                          <a:pt x="78" y="380"/>
                        </a:lnTo>
                        <a:lnTo>
                          <a:pt x="87" y="382"/>
                        </a:lnTo>
                        <a:lnTo>
                          <a:pt x="97" y="380"/>
                        </a:lnTo>
                        <a:lnTo>
                          <a:pt x="99" y="380"/>
                        </a:lnTo>
                        <a:lnTo>
                          <a:pt x="99" y="380"/>
                        </a:lnTo>
                        <a:lnTo>
                          <a:pt x="115" y="379"/>
                        </a:lnTo>
                        <a:lnTo>
                          <a:pt x="115" y="379"/>
                        </a:lnTo>
                        <a:lnTo>
                          <a:pt x="121" y="380"/>
                        </a:lnTo>
                        <a:lnTo>
                          <a:pt x="124" y="382"/>
                        </a:lnTo>
                        <a:lnTo>
                          <a:pt x="124" y="382"/>
                        </a:lnTo>
                        <a:lnTo>
                          <a:pt x="132" y="392"/>
                        </a:lnTo>
                        <a:lnTo>
                          <a:pt x="132" y="392"/>
                        </a:lnTo>
                        <a:lnTo>
                          <a:pt x="137" y="398"/>
                        </a:lnTo>
                        <a:lnTo>
                          <a:pt x="142" y="404"/>
                        </a:lnTo>
                        <a:lnTo>
                          <a:pt x="143" y="414"/>
                        </a:lnTo>
                        <a:lnTo>
                          <a:pt x="145" y="428"/>
                        </a:lnTo>
                        <a:lnTo>
                          <a:pt x="145" y="428"/>
                        </a:lnTo>
                        <a:lnTo>
                          <a:pt x="147" y="449"/>
                        </a:lnTo>
                        <a:lnTo>
                          <a:pt x="148" y="459"/>
                        </a:lnTo>
                        <a:lnTo>
                          <a:pt x="150" y="462"/>
                        </a:lnTo>
                        <a:lnTo>
                          <a:pt x="150" y="462"/>
                        </a:lnTo>
                        <a:lnTo>
                          <a:pt x="153" y="467"/>
                        </a:lnTo>
                        <a:lnTo>
                          <a:pt x="158" y="468"/>
                        </a:lnTo>
                        <a:lnTo>
                          <a:pt x="158" y="468"/>
                        </a:lnTo>
                        <a:lnTo>
                          <a:pt x="161" y="467"/>
                        </a:lnTo>
                        <a:lnTo>
                          <a:pt x="322" y="420"/>
                        </a:lnTo>
                        <a:lnTo>
                          <a:pt x="322" y="420"/>
                        </a:lnTo>
                        <a:lnTo>
                          <a:pt x="325" y="419"/>
                        </a:lnTo>
                        <a:lnTo>
                          <a:pt x="327" y="416"/>
                        </a:lnTo>
                        <a:lnTo>
                          <a:pt x="329" y="412"/>
                        </a:lnTo>
                        <a:lnTo>
                          <a:pt x="329" y="409"/>
                        </a:lnTo>
                        <a:lnTo>
                          <a:pt x="329" y="409"/>
                        </a:lnTo>
                        <a:lnTo>
                          <a:pt x="329" y="396"/>
                        </a:lnTo>
                        <a:lnTo>
                          <a:pt x="327" y="382"/>
                        </a:lnTo>
                        <a:lnTo>
                          <a:pt x="329" y="368"/>
                        </a:lnTo>
                        <a:lnTo>
                          <a:pt x="330" y="350"/>
                        </a:lnTo>
                        <a:lnTo>
                          <a:pt x="333" y="334"/>
                        </a:lnTo>
                        <a:lnTo>
                          <a:pt x="338" y="317"/>
                        </a:lnTo>
                        <a:lnTo>
                          <a:pt x="345" y="299"/>
                        </a:lnTo>
                        <a:lnTo>
                          <a:pt x="353" y="283"/>
                        </a:lnTo>
                        <a:lnTo>
                          <a:pt x="353" y="283"/>
                        </a:lnTo>
                        <a:lnTo>
                          <a:pt x="370" y="254"/>
                        </a:lnTo>
                        <a:lnTo>
                          <a:pt x="370" y="254"/>
                        </a:lnTo>
                        <a:lnTo>
                          <a:pt x="386" y="222"/>
                        </a:lnTo>
                        <a:lnTo>
                          <a:pt x="393" y="210"/>
                        </a:lnTo>
                        <a:lnTo>
                          <a:pt x="396" y="197"/>
                        </a:lnTo>
                        <a:lnTo>
                          <a:pt x="397" y="182"/>
                        </a:lnTo>
                        <a:lnTo>
                          <a:pt x="397" y="165"/>
                        </a:lnTo>
                        <a:lnTo>
                          <a:pt x="396" y="144"/>
                        </a:lnTo>
                        <a:lnTo>
                          <a:pt x="391" y="117"/>
                        </a:lnTo>
                        <a:lnTo>
                          <a:pt x="391" y="117"/>
                        </a:lnTo>
                        <a:close/>
                        <a:moveTo>
                          <a:pt x="353" y="245"/>
                        </a:moveTo>
                        <a:lnTo>
                          <a:pt x="353" y="245"/>
                        </a:lnTo>
                        <a:lnTo>
                          <a:pt x="337" y="273"/>
                        </a:lnTo>
                        <a:lnTo>
                          <a:pt x="337" y="273"/>
                        </a:lnTo>
                        <a:lnTo>
                          <a:pt x="329" y="291"/>
                        </a:lnTo>
                        <a:lnTo>
                          <a:pt x="321" y="307"/>
                        </a:lnTo>
                        <a:lnTo>
                          <a:pt x="316" y="325"/>
                        </a:lnTo>
                        <a:lnTo>
                          <a:pt x="313" y="342"/>
                        </a:lnTo>
                        <a:lnTo>
                          <a:pt x="309" y="358"/>
                        </a:lnTo>
                        <a:lnTo>
                          <a:pt x="309" y="376"/>
                        </a:lnTo>
                        <a:lnTo>
                          <a:pt x="309" y="403"/>
                        </a:lnTo>
                        <a:lnTo>
                          <a:pt x="164" y="446"/>
                        </a:lnTo>
                        <a:lnTo>
                          <a:pt x="164" y="446"/>
                        </a:lnTo>
                        <a:lnTo>
                          <a:pt x="164" y="428"/>
                        </a:lnTo>
                        <a:lnTo>
                          <a:pt x="164" y="428"/>
                        </a:lnTo>
                        <a:lnTo>
                          <a:pt x="163" y="411"/>
                        </a:lnTo>
                        <a:lnTo>
                          <a:pt x="159" y="398"/>
                        </a:lnTo>
                        <a:lnTo>
                          <a:pt x="153" y="388"/>
                        </a:lnTo>
                        <a:lnTo>
                          <a:pt x="147" y="379"/>
                        </a:lnTo>
                        <a:lnTo>
                          <a:pt x="147" y="379"/>
                        </a:lnTo>
                        <a:lnTo>
                          <a:pt x="139" y="371"/>
                        </a:lnTo>
                        <a:lnTo>
                          <a:pt x="139" y="371"/>
                        </a:lnTo>
                        <a:lnTo>
                          <a:pt x="134" y="364"/>
                        </a:lnTo>
                        <a:lnTo>
                          <a:pt x="127" y="361"/>
                        </a:lnTo>
                        <a:lnTo>
                          <a:pt x="121" y="360"/>
                        </a:lnTo>
                        <a:lnTo>
                          <a:pt x="115" y="360"/>
                        </a:lnTo>
                        <a:lnTo>
                          <a:pt x="115" y="360"/>
                        </a:lnTo>
                        <a:lnTo>
                          <a:pt x="105" y="360"/>
                        </a:lnTo>
                        <a:lnTo>
                          <a:pt x="97" y="361"/>
                        </a:lnTo>
                        <a:lnTo>
                          <a:pt x="94" y="363"/>
                        </a:lnTo>
                        <a:lnTo>
                          <a:pt x="94" y="363"/>
                        </a:lnTo>
                        <a:lnTo>
                          <a:pt x="83" y="361"/>
                        </a:lnTo>
                        <a:lnTo>
                          <a:pt x="76" y="361"/>
                        </a:lnTo>
                        <a:lnTo>
                          <a:pt x="71" y="358"/>
                        </a:lnTo>
                        <a:lnTo>
                          <a:pt x="67" y="355"/>
                        </a:lnTo>
                        <a:lnTo>
                          <a:pt x="63" y="350"/>
                        </a:lnTo>
                        <a:lnTo>
                          <a:pt x="62" y="345"/>
                        </a:lnTo>
                        <a:lnTo>
                          <a:pt x="60" y="339"/>
                        </a:lnTo>
                        <a:lnTo>
                          <a:pt x="60" y="339"/>
                        </a:lnTo>
                        <a:lnTo>
                          <a:pt x="60" y="328"/>
                        </a:lnTo>
                        <a:lnTo>
                          <a:pt x="60" y="320"/>
                        </a:lnTo>
                        <a:lnTo>
                          <a:pt x="57" y="315"/>
                        </a:lnTo>
                        <a:lnTo>
                          <a:pt x="54" y="310"/>
                        </a:lnTo>
                        <a:lnTo>
                          <a:pt x="54" y="310"/>
                        </a:lnTo>
                        <a:lnTo>
                          <a:pt x="52" y="307"/>
                        </a:lnTo>
                        <a:lnTo>
                          <a:pt x="54" y="304"/>
                        </a:lnTo>
                        <a:lnTo>
                          <a:pt x="54" y="304"/>
                        </a:lnTo>
                        <a:lnTo>
                          <a:pt x="55" y="301"/>
                        </a:lnTo>
                        <a:lnTo>
                          <a:pt x="55" y="301"/>
                        </a:lnTo>
                        <a:lnTo>
                          <a:pt x="57" y="297"/>
                        </a:lnTo>
                        <a:lnTo>
                          <a:pt x="57" y="293"/>
                        </a:lnTo>
                        <a:lnTo>
                          <a:pt x="57" y="293"/>
                        </a:lnTo>
                        <a:lnTo>
                          <a:pt x="54" y="289"/>
                        </a:lnTo>
                        <a:lnTo>
                          <a:pt x="51" y="288"/>
                        </a:lnTo>
                        <a:lnTo>
                          <a:pt x="51" y="288"/>
                        </a:lnTo>
                        <a:lnTo>
                          <a:pt x="46" y="286"/>
                        </a:lnTo>
                        <a:lnTo>
                          <a:pt x="46" y="285"/>
                        </a:lnTo>
                        <a:lnTo>
                          <a:pt x="46" y="285"/>
                        </a:lnTo>
                        <a:lnTo>
                          <a:pt x="47" y="278"/>
                        </a:lnTo>
                        <a:lnTo>
                          <a:pt x="47" y="278"/>
                        </a:lnTo>
                        <a:lnTo>
                          <a:pt x="49" y="270"/>
                        </a:lnTo>
                        <a:lnTo>
                          <a:pt x="51" y="259"/>
                        </a:lnTo>
                        <a:lnTo>
                          <a:pt x="51" y="259"/>
                        </a:lnTo>
                        <a:lnTo>
                          <a:pt x="51" y="256"/>
                        </a:lnTo>
                        <a:lnTo>
                          <a:pt x="49" y="253"/>
                        </a:lnTo>
                        <a:lnTo>
                          <a:pt x="46" y="249"/>
                        </a:lnTo>
                        <a:lnTo>
                          <a:pt x="43" y="249"/>
                        </a:lnTo>
                        <a:lnTo>
                          <a:pt x="43" y="249"/>
                        </a:lnTo>
                        <a:lnTo>
                          <a:pt x="32" y="248"/>
                        </a:lnTo>
                        <a:lnTo>
                          <a:pt x="32" y="248"/>
                        </a:lnTo>
                        <a:lnTo>
                          <a:pt x="22" y="248"/>
                        </a:lnTo>
                        <a:lnTo>
                          <a:pt x="20" y="246"/>
                        </a:lnTo>
                        <a:lnTo>
                          <a:pt x="19" y="246"/>
                        </a:lnTo>
                        <a:lnTo>
                          <a:pt x="19" y="246"/>
                        </a:lnTo>
                        <a:lnTo>
                          <a:pt x="20" y="241"/>
                        </a:lnTo>
                        <a:lnTo>
                          <a:pt x="25" y="235"/>
                        </a:lnTo>
                        <a:lnTo>
                          <a:pt x="25" y="235"/>
                        </a:lnTo>
                        <a:lnTo>
                          <a:pt x="35" y="222"/>
                        </a:lnTo>
                        <a:lnTo>
                          <a:pt x="41" y="210"/>
                        </a:lnTo>
                        <a:lnTo>
                          <a:pt x="47" y="194"/>
                        </a:lnTo>
                        <a:lnTo>
                          <a:pt x="52" y="179"/>
                        </a:lnTo>
                        <a:lnTo>
                          <a:pt x="57" y="154"/>
                        </a:lnTo>
                        <a:lnTo>
                          <a:pt x="59" y="142"/>
                        </a:lnTo>
                        <a:lnTo>
                          <a:pt x="59" y="142"/>
                        </a:lnTo>
                        <a:lnTo>
                          <a:pt x="62" y="122"/>
                        </a:lnTo>
                        <a:lnTo>
                          <a:pt x="67" y="104"/>
                        </a:lnTo>
                        <a:lnTo>
                          <a:pt x="75" y="88"/>
                        </a:lnTo>
                        <a:lnTo>
                          <a:pt x="83" y="75"/>
                        </a:lnTo>
                        <a:lnTo>
                          <a:pt x="94" y="64"/>
                        </a:lnTo>
                        <a:lnTo>
                          <a:pt x="105" y="53"/>
                        </a:lnTo>
                        <a:lnTo>
                          <a:pt x="116" y="45"/>
                        </a:lnTo>
                        <a:lnTo>
                          <a:pt x="129" y="39"/>
                        </a:lnTo>
                        <a:lnTo>
                          <a:pt x="143" y="32"/>
                        </a:lnTo>
                        <a:lnTo>
                          <a:pt x="156" y="29"/>
                        </a:lnTo>
                        <a:lnTo>
                          <a:pt x="182" y="23"/>
                        </a:lnTo>
                        <a:lnTo>
                          <a:pt x="202" y="21"/>
                        </a:lnTo>
                        <a:lnTo>
                          <a:pt x="220" y="19"/>
                        </a:lnTo>
                        <a:lnTo>
                          <a:pt x="226" y="19"/>
                        </a:lnTo>
                        <a:lnTo>
                          <a:pt x="226" y="19"/>
                        </a:lnTo>
                        <a:lnTo>
                          <a:pt x="238" y="21"/>
                        </a:lnTo>
                        <a:lnTo>
                          <a:pt x="255" y="24"/>
                        </a:lnTo>
                        <a:lnTo>
                          <a:pt x="278" y="31"/>
                        </a:lnTo>
                        <a:lnTo>
                          <a:pt x="301" y="39"/>
                        </a:lnTo>
                        <a:lnTo>
                          <a:pt x="314" y="45"/>
                        </a:lnTo>
                        <a:lnTo>
                          <a:pt x="325" y="53"/>
                        </a:lnTo>
                        <a:lnTo>
                          <a:pt x="337" y="61"/>
                        </a:lnTo>
                        <a:lnTo>
                          <a:pt x="348" y="71"/>
                        </a:lnTo>
                        <a:lnTo>
                          <a:pt x="356" y="80"/>
                        </a:lnTo>
                        <a:lnTo>
                          <a:pt x="364" y="93"/>
                        </a:lnTo>
                        <a:lnTo>
                          <a:pt x="369" y="106"/>
                        </a:lnTo>
                        <a:lnTo>
                          <a:pt x="373" y="120"/>
                        </a:lnTo>
                        <a:lnTo>
                          <a:pt x="373" y="120"/>
                        </a:lnTo>
                        <a:lnTo>
                          <a:pt x="378" y="163"/>
                        </a:lnTo>
                        <a:lnTo>
                          <a:pt x="378" y="179"/>
                        </a:lnTo>
                        <a:lnTo>
                          <a:pt x="377" y="192"/>
                        </a:lnTo>
                        <a:lnTo>
                          <a:pt x="373" y="203"/>
                        </a:lnTo>
                        <a:lnTo>
                          <a:pt x="369" y="216"/>
                        </a:lnTo>
                        <a:lnTo>
                          <a:pt x="353" y="245"/>
                        </a:lnTo>
                        <a:lnTo>
                          <a:pt x="353" y="24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21" name="Group 20"/>
                <p:cNvGrpSpPr/>
                <p:nvPr/>
              </p:nvGrpSpPr>
              <p:grpSpPr>
                <a:xfrm>
                  <a:off x="-1877026" y="4926720"/>
                  <a:ext cx="543301" cy="555268"/>
                  <a:chOff x="5864226" y="2549525"/>
                  <a:chExt cx="360363" cy="368300"/>
                </a:xfrm>
                <a:solidFill>
                  <a:schemeClr val="accent1"/>
                </a:solidFill>
              </p:grpSpPr>
              <p:sp>
                <p:nvSpPr>
                  <p:cNvPr id="22" name="Freeform 72"/>
                  <p:cNvSpPr>
                    <a:spLocks/>
                  </p:cNvSpPr>
                  <p:nvPr/>
                </p:nvSpPr>
                <p:spPr bwMode="auto">
                  <a:xfrm>
                    <a:off x="6043613" y="2671763"/>
                    <a:ext cx="46038" cy="63500"/>
                  </a:xfrm>
                  <a:custGeom>
                    <a:avLst/>
                    <a:gdLst>
                      <a:gd name="T0" fmla="*/ 30 w 58"/>
                      <a:gd name="T1" fmla="*/ 10 h 80"/>
                      <a:gd name="T2" fmla="*/ 30 w 58"/>
                      <a:gd name="T3" fmla="*/ 10 h 80"/>
                      <a:gd name="T4" fmla="*/ 26 w 58"/>
                      <a:gd name="T5" fmla="*/ 5 h 80"/>
                      <a:gd name="T6" fmla="*/ 19 w 58"/>
                      <a:gd name="T7" fmla="*/ 2 h 80"/>
                      <a:gd name="T8" fmla="*/ 13 w 58"/>
                      <a:gd name="T9" fmla="*/ 0 h 80"/>
                      <a:gd name="T10" fmla="*/ 8 w 58"/>
                      <a:gd name="T11" fmla="*/ 3 h 80"/>
                      <a:gd name="T12" fmla="*/ 8 w 58"/>
                      <a:gd name="T13" fmla="*/ 3 h 80"/>
                      <a:gd name="T14" fmla="*/ 3 w 58"/>
                      <a:gd name="T15" fmla="*/ 6 h 80"/>
                      <a:gd name="T16" fmla="*/ 0 w 58"/>
                      <a:gd name="T17" fmla="*/ 13 h 80"/>
                      <a:gd name="T18" fmla="*/ 0 w 58"/>
                      <a:gd name="T19" fmla="*/ 19 h 80"/>
                      <a:gd name="T20" fmla="*/ 2 w 58"/>
                      <a:gd name="T21" fmla="*/ 25 h 80"/>
                      <a:gd name="T22" fmla="*/ 27 w 58"/>
                      <a:gd name="T23" fmla="*/ 70 h 80"/>
                      <a:gd name="T24" fmla="*/ 27 w 58"/>
                      <a:gd name="T25" fmla="*/ 70 h 80"/>
                      <a:gd name="T26" fmla="*/ 30 w 58"/>
                      <a:gd name="T27" fmla="*/ 75 h 80"/>
                      <a:gd name="T28" fmla="*/ 34 w 58"/>
                      <a:gd name="T29" fmla="*/ 77 h 80"/>
                      <a:gd name="T30" fmla="*/ 38 w 58"/>
                      <a:gd name="T31" fmla="*/ 80 h 80"/>
                      <a:gd name="T32" fmla="*/ 43 w 58"/>
                      <a:gd name="T33" fmla="*/ 80 h 80"/>
                      <a:gd name="T34" fmla="*/ 43 w 58"/>
                      <a:gd name="T35" fmla="*/ 80 h 80"/>
                      <a:gd name="T36" fmla="*/ 50 w 58"/>
                      <a:gd name="T37" fmla="*/ 78 h 80"/>
                      <a:gd name="T38" fmla="*/ 50 w 58"/>
                      <a:gd name="T39" fmla="*/ 78 h 80"/>
                      <a:gd name="T40" fmla="*/ 54 w 58"/>
                      <a:gd name="T41" fmla="*/ 73 h 80"/>
                      <a:gd name="T42" fmla="*/ 58 w 58"/>
                      <a:gd name="T43" fmla="*/ 69 h 80"/>
                      <a:gd name="T44" fmla="*/ 58 w 58"/>
                      <a:gd name="T45" fmla="*/ 69 h 80"/>
                      <a:gd name="T46" fmla="*/ 58 w 58"/>
                      <a:gd name="T47" fmla="*/ 62 h 80"/>
                      <a:gd name="T48" fmla="*/ 54 w 58"/>
                      <a:gd name="T49" fmla="*/ 56 h 80"/>
                      <a:gd name="T50" fmla="*/ 30 w 58"/>
                      <a:gd name="T5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0">
                        <a:moveTo>
                          <a:pt x="30" y="10"/>
                        </a:moveTo>
                        <a:lnTo>
                          <a:pt x="30" y="10"/>
                        </a:lnTo>
                        <a:lnTo>
                          <a:pt x="26" y="5"/>
                        </a:lnTo>
                        <a:lnTo>
                          <a:pt x="19" y="2"/>
                        </a:lnTo>
                        <a:lnTo>
                          <a:pt x="13" y="0"/>
                        </a:lnTo>
                        <a:lnTo>
                          <a:pt x="8" y="3"/>
                        </a:lnTo>
                        <a:lnTo>
                          <a:pt x="8" y="3"/>
                        </a:lnTo>
                        <a:lnTo>
                          <a:pt x="3" y="6"/>
                        </a:lnTo>
                        <a:lnTo>
                          <a:pt x="0" y="13"/>
                        </a:lnTo>
                        <a:lnTo>
                          <a:pt x="0" y="19"/>
                        </a:lnTo>
                        <a:lnTo>
                          <a:pt x="2" y="25"/>
                        </a:lnTo>
                        <a:lnTo>
                          <a:pt x="27" y="70"/>
                        </a:lnTo>
                        <a:lnTo>
                          <a:pt x="27" y="70"/>
                        </a:lnTo>
                        <a:lnTo>
                          <a:pt x="30" y="75"/>
                        </a:lnTo>
                        <a:lnTo>
                          <a:pt x="34" y="77"/>
                        </a:lnTo>
                        <a:lnTo>
                          <a:pt x="38" y="80"/>
                        </a:lnTo>
                        <a:lnTo>
                          <a:pt x="43" y="80"/>
                        </a:lnTo>
                        <a:lnTo>
                          <a:pt x="43" y="80"/>
                        </a:lnTo>
                        <a:lnTo>
                          <a:pt x="50" y="78"/>
                        </a:lnTo>
                        <a:lnTo>
                          <a:pt x="50" y="78"/>
                        </a:lnTo>
                        <a:lnTo>
                          <a:pt x="54" y="73"/>
                        </a:lnTo>
                        <a:lnTo>
                          <a:pt x="58" y="69"/>
                        </a:lnTo>
                        <a:lnTo>
                          <a:pt x="58" y="69"/>
                        </a:lnTo>
                        <a:lnTo>
                          <a:pt x="58" y="62"/>
                        </a:lnTo>
                        <a:lnTo>
                          <a:pt x="54" y="56"/>
                        </a:lnTo>
                        <a:lnTo>
                          <a:pt x="3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3" name="Freeform 73"/>
                  <p:cNvSpPr>
                    <a:spLocks noEditPoints="1"/>
                  </p:cNvSpPr>
                  <p:nvPr/>
                </p:nvSpPr>
                <p:spPr bwMode="auto">
                  <a:xfrm>
                    <a:off x="5864226" y="2549525"/>
                    <a:ext cx="360363" cy="368300"/>
                  </a:xfrm>
                  <a:custGeom>
                    <a:avLst/>
                    <a:gdLst>
                      <a:gd name="T0" fmla="*/ 360 w 456"/>
                      <a:gd name="T1" fmla="*/ 141 h 465"/>
                      <a:gd name="T2" fmla="*/ 334 w 456"/>
                      <a:gd name="T3" fmla="*/ 110 h 465"/>
                      <a:gd name="T4" fmla="*/ 296 w 456"/>
                      <a:gd name="T5" fmla="*/ 93 h 465"/>
                      <a:gd name="T6" fmla="*/ 269 w 456"/>
                      <a:gd name="T7" fmla="*/ 89 h 465"/>
                      <a:gd name="T8" fmla="*/ 227 w 456"/>
                      <a:gd name="T9" fmla="*/ 96 h 465"/>
                      <a:gd name="T10" fmla="*/ 200 w 456"/>
                      <a:gd name="T11" fmla="*/ 73 h 465"/>
                      <a:gd name="T12" fmla="*/ 184 w 456"/>
                      <a:gd name="T13" fmla="*/ 54 h 465"/>
                      <a:gd name="T14" fmla="*/ 154 w 456"/>
                      <a:gd name="T15" fmla="*/ 45 h 465"/>
                      <a:gd name="T16" fmla="*/ 104 w 456"/>
                      <a:gd name="T17" fmla="*/ 61 h 465"/>
                      <a:gd name="T18" fmla="*/ 103 w 456"/>
                      <a:gd name="T19" fmla="*/ 62 h 465"/>
                      <a:gd name="T20" fmla="*/ 75 w 456"/>
                      <a:gd name="T21" fmla="*/ 69 h 465"/>
                      <a:gd name="T22" fmla="*/ 47 w 456"/>
                      <a:gd name="T23" fmla="*/ 59 h 465"/>
                      <a:gd name="T24" fmla="*/ 18 w 456"/>
                      <a:gd name="T25" fmla="*/ 5 h 465"/>
                      <a:gd name="T26" fmla="*/ 13 w 456"/>
                      <a:gd name="T27" fmla="*/ 0 h 465"/>
                      <a:gd name="T28" fmla="*/ 5 w 456"/>
                      <a:gd name="T29" fmla="*/ 2 h 465"/>
                      <a:gd name="T30" fmla="*/ 0 w 456"/>
                      <a:gd name="T31" fmla="*/ 10 h 465"/>
                      <a:gd name="T32" fmla="*/ 23 w 456"/>
                      <a:gd name="T33" fmla="*/ 59 h 465"/>
                      <a:gd name="T34" fmla="*/ 51 w 456"/>
                      <a:gd name="T35" fmla="*/ 83 h 465"/>
                      <a:gd name="T36" fmla="*/ 85 w 456"/>
                      <a:gd name="T37" fmla="*/ 86 h 465"/>
                      <a:gd name="T38" fmla="*/ 106 w 456"/>
                      <a:gd name="T39" fmla="*/ 81 h 465"/>
                      <a:gd name="T40" fmla="*/ 107 w 456"/>
                      <a:gd name="T41" fmla="*/ 81 h 465"/>
                      <a:gd name="T42" fmla="*/ 112 w 456"/>
                      <a:gd name="T43" fmla="*/ 78 h 465"/>
                      <a:gd name="T44" fmla="*/ 112 w 456"/>
                      <a:gd name="T45" fmla="*/ 78 h 465"/>
                      <a:gd name="T46" fmla="*/ 146 w 456"/>
                      <a:gd name="T47" fmla="*/ 64 h 465"/>
                      <a:gd name="T48" fmla="*/ 170 w 456"/>
                      <a:gd name="T49" fmla="*/ 69 h 465"/>
                      <a:gd name="T50" fmla="*/ 182 w 456"/>
                      <a:gd name="T51" fmla="*/ 83 h 465"/>
                      <a:gd name="T52" fmla="*/ 189 w 456"/>
                      <a:gd name="T53" fmla="*/ 118 h 465"/>
                      <a:gd name="T54" fmla="*/ 155 w 456"/>
                      <a:gd name="T55" fmla="*/ 158 h 465"/>
                      <a:gd name="T56" fmla="*/ 142 w 456"/>
                      <a:gd name="T57" fmla="*/ 208 h 465"/>
                      <a:gd name="T58" fmla="*/ 147 w 456"/>
                      <a:gd name="T59" fmla="*/ 236 h 465"/>
                      <a:gd name="T60" fmla="*/ 249 w 456"/>
                      <a:gd name="T61" fmla="*/ 412 h 465"/>
                      <a:gd name="T62" fmla="*/ 269 w 456"/>
                      <a:gd name="T63" fmla="*/ 434 h 465"/>
                      <a:gd name="T64" fmla="*/ 302 w 456"/>
                      <a:gd name="T65" fmla="*/ 457 h 465"/>
                      <a:gd name="T66" fmla="*/ 342 w 456"/>
                      <a:gd name="T67" fmla="*/ 465 h 465"/>
                      <a:gd name="T68" fmla="*/ 371 w 456"/>
                      <a:gd name="T69" fmla="*/ 462 h 465"/>
                      <a:gd name="T70" fmla="*/ 398 w 456"/>
                      <a:gd name="T71" fmla="*/ 450 h 465"/>
                      <a:gd name="T72" fmla="*/ 424 w 456"/>
                      <a:gd name="T73" fmla="*/ 430 h 465"/>
                      <a:gd name="T74" fmla="*/ 443 w 456"/>
                      <a:gd name="T75" fmla="*/ 406 h 465"/>
                      <a:gd name="T76" fmla="*/ 454 w 456"/>
                      <a:gd name="T77" fmla="*/ 377 h 465"/>
                      <a:gd name="T78" fmla="*/ 456 w 456"/>
                      <a:gd name="T79" fmla="*/ 347 h 465"/>
                      <a:gd name="T80" fmla="*/ 449 w 456"/>
                      <a:gd name="T81" fmla="*/ 315 h 465"/>
                      <a:gd name="T82" fmla="*/ 388 w 456"/>
                      <a:gd name="T83" fmla="*/ 433 h 465"/>
                      <a:gd name="T84" fmla="*/ 366 w 456"/>
                      <a:gd name="T85" fmla="*/ 442 h 465"/>
                      <a:gd name="T86" fmla="*/ 342 w 456"/>
                      <a:gd name="T87" fmla="*/ 446 h 465"/>
                      <a:gd name="T88" fmla="*/ 310 w 456"/>
                      <a:gd name="T89" fmla="*/ 439 h 465"/>
                      <a:gd name="T90" fmla="*/ 281 w 456"/>
                      <a:gd name="T91" fmla="*/ 422 h 465"/>
                      <a:gd name="T92" fmla="*/ 171 w 456"/>
                      <a:gd name="T93" fmla="*/ 246 h 465"/>
                      <a:gd name="T94" fmla="*/ 165 w 456"/>
                      <a:gd name="T95" fmla="*/ 230 h 465"/>
                      <a:gd name="T96" fmla="*/ 163 w 456"/>
                      <a:gd name="T97" fmla="*/ 196 h 465"/>
                      <a:gd name="T98" fmla="*/ 186 w 456"/>
                      <a:gd name="T99" fmla="*/ 147 h 465"/>
                      <a:gd name="T100" fmla="*/ 216 w 456"/>
                      <a:gd name="T101" fmla="*/ 123 h 465"/>
                      <a:gd name="T102" fmla="*/ 254 w 456"/>
                      <a:gd name="T103" fmla="*/ 110 h 465"/>
                      <a:gd name="T104" fmla="*/ 280 w 456"/>
                      <a:gd name="T105" fmla="*/ 109 h 465"/>
                      <a:gd name="T106" fmla="*/ 313 w 456"/>
                      <a:gd name="T107" fmla="*/ 120 h 465"/>
                      <a:gd name="T108" fmla="*/ 337 w 456"/>
                      <a:gd name="T109" fmla="*/ 141 h 465"/>
                      <a:gd name="T110" fmla="*/ 427 w 456"/>
                      <a:gd name="T111" fmla="*/ 311 h 465"/>
                      <a:gd name="T112" fmla="*/ 436 w 456"/>
                      <a:gd name="T113" fmla="*/ 364 h 465"/>
                      <a:gd name="T114" fmla="*/ 417 w 456"/>
                      <a:gd name="T115" fmla="*/ 410 h 465"/>
                      <a:gd name="T116" fmla="*/ 388 w 456"/>
                      <a:gd name="T117" fmla="*/ 43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6" h="465">
                        <a:moveTo>
                          <a:pt x="444" y="303"/>
                        </a:moveTo>
                        <a:lnTo>
                          <a:pt x="360" y="141"/>
                        </a:lnTo>
                        <a:lnTo>
                          <a:pt x="360" y="141"/>
                        </a:lnTo>
                        <a:lnTo>
                          <a:pt x="353" y="129"/>
                        </a:lnTo>
                        <a:lnTo>
                          <a:pt x="344" y="120"/>
                        </a:lnTo>
                        <a:lnTo>
                          <a:pt x="334" y="110"/>
                        </a:lnTo>
                        <a:lnTo>
                          <a:pt x="323" y="104"/>
                        </a:lnTo>
                        <a:lnTo>
                          <a:pt x="310" y="97"/>
                        </a:lnTo>
                        <a:lnTo>
                          <a:pt x="296" y="93"/>
                        </a:lnTo>
                        <a:lnTo>
                          <a:pt x="283" y="91"/>
                        </a:lnTo>
                        <a:lnTo>
                          <a:pt x="269" y="89"/>
                        </a:lnTo>
                        <a:lnTo>
                          <a:pt x="269" y="89"/>
                        </a:lnTo>
                        <a:lnTo>
                          <a:pt x="254" y="91"/>
                        </a:lnTo>
                        <a:lnTo>
                          <a:pt x="242" y="93"/>
                        </a:lnTo>
                        <a:lnTo>
                          <a:pt x="227" y="96"/>
                        </a:lnTo>
                        <a:lnTo>
                          <a:pt x="214" y="102"/>
                        </a:lnTo>
                        <a:lnTo>
                          <a:pt x="200" y="73"/>
                        </a:lnTo>
                        <a:lnTo>
                          <a:pt x="200" y="73"/>
                        </a:lnTo>
                        <a:lnTo>
                          <a:pt x="195" y="67"/>
                        </a:lnTo>
                        <a:lnTo>
                          <a:pt x="190" y="61"/>
                        </a:lnTo>
                        <a:lnTo>
                          <a:pt x="184" y="54"/>
                        </a:lnTo>
                        <a:lnTo>
                          <a:pt x="174" y="50"/>
                        </a:lnTo>
                        <a:lnTo>
                          <a:pt x="165" y="45"/>
                        </a:lnTo>
                        <a:lnTo>
                          <a:pt x="154" y="45"/>
                        </a:lnTo>
                        <a:lnTo>
                          <a:pt x="141" y="46"/>
                        </a:lnTo>
                        <a:lnTo>
                          <a:pt x="126" y="51"/>
                        </a:lnTo>
                        <a:lnTo>
                          <a:pt x="104" y="61"/>
                        </a:lnTo>
                        <a:lnTo>
                          <a:pt x="104" y="61"/>
                        </a:lnTo>
                        <a:lnTo>
                          <a:pt x="103" y="62"/>
                        </a:lnTo>
                        <a:lnTo>
                          <a:pt x="103" y="62"/>
                        </a:lnTo>
                        <a:lnTo>
                          <a:pt x="95" y="65"/>
                        </a:lnTo>
                        <a:lnTo>
                          <a:pt x="85" y="67"/>
                        </a:lnTo>
                        <a:lnTo>
                          <a:pt x="75" y="69"/>
                        </a:lnTo>
                        <a:lnTo>
                          <a:pt x="66" y="69"/>
                        </a:lnTo>
                        <a:lnTo>
                          <a:pt x="56" y="65"/>
                        </a:lnTo>
                        <a:lnTo>
                          <a:pt x="47" y="59"/>
                        </a:lnTo>
                        <a:lnTo>
                          <a:pt x="43" y="56"/>
                        </a:lnTo>
                        <a:lnTo>
                          <a:pt x="40" y="50"/>
                        </a:lnTo>
                        <a:lnTo>
                          <a:pt x="18" y="5"/>
                        </a:lnTo>
                        <a:lnTo>
                          <a:pt x="18" y="5"/>
                        </a:lnTo>
                        <a:lnTo>
                          <a:pt x="16" y="3"/>
                        </a:lnTo>
                        <a:lnTo>
                          <a:pt x="13" y="0"/>
                        </a:lnTo>
                        <a:lnTo>
                          <a:pt x="10" y="0"/>
                        </a:lnTo>
                        <a:lnTo>
                          <a:pt x="5" y="2"/>
                        </a:lnTo>
                        <a:lnTo>
                          <a:pt x="5" y="2"/>
                        </a:lnTo>
                        <a:lnTo>
                          <a:pt x="2" y="3"/>
                        </a:lnTo>
                        <a:lnTo>
                          <a:pt x="0" y="6"/>
                        </a:lnTo>
                        <a:lnTo>
                          <a:pt x="0" y="10"/>
                        </a:lnTo>
                        <a:lnTo>
                          <a:pt x="0" y="14"/>
                        </a:lnTo>
                        <a:lnTo>
                          <a:pt x="23" y="59"/>
                        </a:lnTo>
                        <a:lnTo>
                          <a:pt x="23" y="59"/>
                        </a:lnTo>
                        <a:lnTo>
                          <a:pt x="31" y="70"/>
                        </a:lnTo>
                        <a:lnTo>
                          <a:pt x="40" y="78"/>
                        </a:lnTo>
                        <a:lnTo>
                          <a:pt x="51" y="83"/>
                        </a:lnTo>
                        <a:lnTo>
                          <a:pt x="63" y="86"/>
                        </a:lnTo>
                        <a:lnTo>
                          <a:pt x="74" y="88"/>
                        </a:lnTo>
                        <a:lnTo>
                          <a:pt x="85" y="86"/>
                        </a:lnTo>
                        <a:lnTo>
                          <a:pt x="96" y="85"/>
                        </a:lnTo>
                        <a:lnTo>
                          <a:pt x="106" y="81"/>
                        </a:lnTo>
                        <a:lnTo>
                          <a:pt x="106" y="81"/>
                        </a:lnTo>
                        <a:lnTo>
                          <a:pt x="107" y="81"/>
                        </a:lnTo>
                        <a:lnTo>
                          <a:pt x="107" y="81"/>
                        </a:lnTo>
                        <a:lnTo>
                          <a:pt x="107" y="81"/>
                        </a:lnTo>
                        <a:lnTo>
                          <a:pt x="111" y="80"/>
                        </a:lnTo>
                        <a:lnTo>
                          <a:pt x="111" y="80"/>
                        </a:lnTo>
                        <a:lnTo>
                          <a:pt x="112" y="78"/>
                        </a:lnTo>
                        <a:lnTo>
                          <a:pt x="112" y="78"/>
                        </a:lnTo>
                        <a:lnTo>
                          <a:pt x="112" y="78"/>
                        </a:lnTo>
                        <a:lnTo>
                          <a:pt x="112" y="78"/>
                        </a:lnTo>
                        <a:lnTo>
                          <a:pt x="134" y="67"/>
                        </a:lnTo>
                        <a:lnTo>
                          <a:pt x="134" y="67"/>
                        </a:lnTo>
                        <a:lnTo>
                          <a:pt x="146" y="64"/>
                        </a:lnTo>
                        <a:lnTo>
                          <a:pt x="155" y="64"/>
                        </a:lnTo>
                        <a:lnTo>
                          <a:pt x="163" y="65"/>
                        </a:lnTo>
                        <a:lnTo>
                          <a:pt x="170" y="69"/>
                        </a:lnTo>
                        <a:lnTo>
                          <a:pt x="176" y="72"/>
                        </a:lnTo>
                        <a:lnTo>
                          <a:pt x="179" y="77"/>
                        </a:lnTo>
                        <a:lnTo>
                          <a:pt x="182" y="83"/>
                        </a:lnTo>
                        <a:lnTo>
                          <a:pt x="198" y="110"/>
                        </a:lnTo>
                        <a:lnTo>
                          <a:pt x="198" y="110"/>
                        </a:lnTo>
                        <a:lnTo>
                          <a:pt x="189" y="118"/>
                        </a:lnTo>
                        <a:lnTo>
                          <a:pt x="181" y="125"/>
                        </a:lnTo>
                        <a:lnTo>
                          <a:pt x="166" y="141"/>
                        </a:lnTo>
                        <a:lnTo>
                          <a:pt x="155" y="158"/>
                        </a:lnTo>
                        <a:lnTo>
                          <a:pt x="147" y="177"/>
                        </a:lnTo>
                        <a:lnTo>
                          <a:pt x="144" y="198"/>
                        </a:lnTo>
                        <a:lnTo>
                          <a:pt x="142" y="208"/>
                        </a:lnTo>
                        <a:lnTo>
                          <a:pt x="142" y="217"/>
                        </a:lnTo>
                        <a:lnTo>
                          <a:pt x="144" y="227"/>
                        </a:lnTo>
                        <a:lnTo>
                          <a:pt x="147" y="236"/>
                        </a:lnTo>
                        <a:lnTo>
                          <a:pt x="150" y="246"/>
                        </a:lnTo>
                        <a:lnTo>
                          <a:pt x="155" y="256"/>
                        </a:lnTo>
                        <a:lnTo>
                          <a:pt x="249" y="412"/>
                        </a:lnTo>
                        <a:lnTo>
                          <a:pt x="249" y="412"/>
                        </a:lnTo>
                        <a:lnTo>
                          <a:pt x="259" y="425"/>
                        </a:lnTo>
                        <a:lnTo>
                          <a:pt x="269" y="434"/>
                        </a:lnTo>
                        <a:lnTo>
                          <a:pt x="278" y="444"/>
                        </a:lnTo>
                        <a:lnTo>
                          <a:pt x="291" y="450"/>
                        </a:lnTo>
                        <a:lnTo>
                          <a:pt x="302" y="457"/>
                        </a:lnTo>
                        <a:lnTo>
                          <a:pt x="315" y="462"/>
                        </a:lnTo>
                        <a:lnTo>
                          <a:pt x="329" y="463"/>
                        </a:lnTo>
                        <a:lnTo>
                          <a:pt x="342" y="465"/>
                        </a:lnTo>
                        <a:lnTo>
                          <a:pt x="342" y="465"/>
                        </a:lnTo>
                        <a:lnTo>
                          <a:pt x="357" y="463"/>
                        </a:lnTo>
                        <a:lnTo>
                          <a:pt x="371" y="462"/>
                        </a:lnTo>
                        <a:lnTo>
                          <a:pt x="384" y="457"/>
                        </a:lnTo>
                        <a:lnTo>
                          <a:pt x="398" y="450"/>
                        </a:lnTo>
                        <a:lnTo>
                          <a:pt x="398" y="450"/>
                        </a:lnTo>
                        <a:lnTo>
                          <a:pt x="408" y="444"/>
                        </a:lnTo>
                        <a:lnTo>
                          <a:pt x="417" y="438"/>
                        </a:lnTo>
                        <a:lnTo>
                          <a:pt x="424" y="430"/>
                        </a:lnTo>
                        <a:lnTo>
                          <a:pt x="432" y="422"/>
                        </a:lnTo>
                        <a:lnTo>
                          <a:pt x="438" y="414"/>
                        </a:lnTo>
                        <a:lnTo>
                          <a:pt x="443" y="406"/>
                        </a:lnTo>
                        <a:lnTo>
                          <a:pt x="448" y="396"/>
                        </a:lnTo>
                        <a:lnTo>
                          <a:pt x="451" y="387"/>
                        </a:lnTo>
                        <a:lnTo>
                          <a:pt x="454" y="377"/>
                        </a:lnTo>
                        <a:lnTo>
                          <a:pt x="456" y="367"/>
                        </a:lnTo>
                        <a:lnTo>
                          <a:pt x="456" y="358"/>
                        </a:lnTo>
                        <a:lnTo>
                          <a:pt x="456" y="347"/>
                        </a:lnTo>
                        <a:lnTo>
                          <a:pt x="454" y="335"/>
                        </a:lnTo>
                        <a:lnTo>
                          <a:pt x="452" y="326"/>
                        </a:lnTo>
                        <a:lnTo>
                          <a:pt x="449" y="315"/>
                        </a:lnTo>
                        <a:lnTo>
                          <a:pt x="444" y="303"/>
                        </a:lnTo>
                        <a:lnTo>
                          <a:pt x="444" y="303"/>
                        </a:lnTo>
                        <a:close/>
                        <a:moveTo>
                          <a:pt x="388" y="433"/>
                        </a:moveTo>
                        <a:lnTo>
                          <a:pt x="388" y="433"/>
                        </a:lnTo>
                        <a:lnTo>
                          <a:pt x="377" y="439"/>
                        </a:lnTo>
                        <a:lnTo>
                          <a:pt x="366" y="442"/>
                        </a:lnTo>
                        <a:lnTo>
                          <a:pt x="353" y="446"/>
                        </a:lnTo>
                        <a:lnTo>
                          <a:pt x="342" y="446"/>
                        </a:lnTo>
                        <a:lnTo>
                          <a:pt x="342" y="446"/>
                        </a:lnTo>
                        <a:lnTo>
                          <a:pt x="331" y="446"/>
                        </a:lnTo>
                        <a:lnTo>
                          <a:pt x="320" y="442"/>
                        </a:lnTo>
                        <a:lnTo>
                          <a:pt x="310" y="439"/>
                        </a:lnTo>
                        <a:lnTo>
                          <a:pt x="299" y="434"/>
                        </a:lnTo>
                        <a:lnTo>
                          <a:pt x="289" y="428"/>
                        </a:lnTo>
                        <a:lnTo>
                          <a:pt x="281" y="422"/>
                        </a:lnTo>
                        <a:lnTo>
                          <a:pt x="273" y="412"/>
                        </a:lnTo>
                        <a:lnTo>
                          <a:pt x="265" y="402"/>
                        </a:lnTo>
                        <a:lnTo>
                          <a:pt x="171" y="246"/>
                        </a:lnTo>
                        <a:lnTo>
                          <a:pt x="171" y="246"/>
                        </a:lnTo>
                        <a:lnTo>
                          <a:pt x="168" y="238"/>
                        </a:lnTo>
                        <a:lnTo>
                          <a:pt x="165" y="230"/>
                        </a:lnTo>
                        <a:lnTo>
                          <a:pt x="163" y="222"/>
                        </a:lnTo>
                        <a:lnTo>
                          <a:pt x="162" y="212"/>
                        </a:lnTo>
                        <a:lnTo>
                          <a:pt x="163" y="196"/>
                        </a:lnTo>
                        <a:lnTo>
                          <a:pt x="166" y="179"/>
                        </a:lnTo>
                        <a:lnTo>
                          <a:pt x="174" y="163"/>
                        </a:lnTo>
                        <a:lnTo>
                          <a:pt x="186" y="147"/>
                        </a:lnTo>
                        <a:lnTo>
                          <a:pt x="198" y="134"/>
                        </a:lnTo>
                        <a:lnTo>
                          <a:pt x="216" y="123"/>
                        </a:lnTo>
                        <a:lnTo>
                          <a:pt x="216" y="123"/>
                        </a:lnTo>
                        <a:lnTo>
                          <a:pt x="227" y="117"/>
                        </a:lnTo>
                        <a:lnTo>
                          <a:pt x="242" y="112"/>
                        </a:lnTo>
                        <a:lnTo>
                          <a:pt x="254" y="110"/>
                        </a:lnTo>
                        <a:lnTo>
                          <a:pt x="269" y="109"/>
                        </a:lnTo>
                        <a:lnTo>
                          <a:pt x="269" y="109"/>
                        </a:lnTo>
                        <a:lnTo>
                          <a:pt x="280" y="109"/>
                        </a:lnTo>
                        <a:lnTo>
                          <a:pt x="291" y="112"/>
                        </a:lnTo>
                        <a:lnTo>
                          <a:pt x="302" y="115"/>
                        </a:lnTo>
                        <a:lnTo>
                          <a:pt x="313" y="120"/>
                        </a:lnTo>
                        <a:lnTo>
                          <a:pt x="321" y="126"/>
                        </a:lnTo>
                        <a:lnTo>
                          <a:pt x="331" y="133"/>
                        </a:lnTo>
                        <a:lnTo>
                          <a:pt x="337" y="141"/>
                        </a:lnTo>
                        <a:lnTo>
                          <a:pt x="344" y="150"/>
                        </a:lnTo>
                        <a:lnTo>
                          <a:pt x="427" y="311"/>
                        </a:lnTo>
                        <a:lnTo>
                          <a:pt x="427" y="311"/>
                        </a:lnTo>
                        <a:lnTo>
                          <a:pt x="433" y="329"/>
                        </a:lnTo>
                        <a:lnTo>
                          <a:pt x="436" y="347"/>
                        </a:lnTo>
                        <a:lnTo>
                          <a:pt x="436" y="364"/>
                        </a:lnTo>
                        <a:lnTo>
                          <a:pt x="433" y="382"/>
                        </a:lnTo>
                        <a:lnTo>
                          <a:pt x="427" y="396"/>
                        </a:lnTo>
                        <a:lnTo>
                          <a:pt x="417" y="410"/>
                        </a:lnTo>
                        <a:lnTo>
                          <a:pt x="404" y="423"/>
                        </a:lnTo>
                        <a:lnTo>
                          <a:pt x="388" y="433"/>
                        </a:lnTo>
                        <a:lnTo>
                          <a:pt x="388" y="4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sp>
              <p:nvSpPr>
                <p:cNvPr id="24" name="Rectangle 23"/>
                <p:cNvSpPr/>
                <p:nvPr/>
              </p:nvSpPr>
              <p:spPr bwMode="auto">
                <a:xfrm>
                  <a:off x="-2123037" y="-299405"/>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Get started for free at </a:t>
                  </a: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6"/>
                    </a:rPr>
                    <a:t>http://</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6"/>
                    </a:rPr>
                    <a:t>azure.com/Cognitive</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rPr>
                    <a:t> </a:t>
                  </a:r>
                  <a:endPar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endParaRPr>
                </a:p>
              </p:txBody>
            </p:sp>
          </p:grpSp>
          <p:grpSp>
            <p:nvGrpSpPr>
              <p:cNvPr id="27" name="Group 26"/>
              <p:cNvGrpSpPr/>
              <p:nvPr/>
            </p:nvGrpSpPr>
            <p:grpSpPr>
              <a:xfrm>
                <a:off x="918686" y="878292"/>
                <a:ext cx="347246" cy="425294"/>
                <a:chOff x="1230732" y="950786"/>
                <a:chExt cx="243376" cy="298078"/>
              </a:xfrm>
            </p:grpSpPr>
            <p:sp>
              <p:nvSpPr>
                <p:cNvPr id="26" name="Freeform 40"/>
                <p:cNvSpPr>
                  <a:spLocks noEditPoints="1"/>
                </p:cNvSpPr>
                <p:nvPr/>
              </p:nvSpPr>
              <p:spPr bwMode="auto">
                <a:xfrm>
                  <a:off x="1230732" y="950786"/>
                  <a:ext cx="243376" cy="298078"/>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1270548" y="1064419"/>
                  <a:ext cx="173488" cy="92869"/>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8446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C461-AD73-4742-B526-CD846DA26969}"/>
              </a:ext>
            </a:extLst>
          </p:cNvPr>
          <p:cNvSpPr>
            <a:spLocks noGrp="1"/>
          </p:cNvSpPr>
          <p:nvPr>
            <p:ph type="title"/>
          </p:nvPr>
        </p:nvSpPr>
        <p:spPr>
          <a:xfrm>
            <a:off x="269240" y="3895726"/>
            <a:ext cx="3743960" cy="1828800"/>
          </a:xfrm>
        </p:spPr>
        <p:txBody>
          <a:bodyPr/>
          <a:lstStyle/>
          <a:p>
            <a:r>
              <a:rPr lang="en-US" sz="4800" dirty="0"/>
              <a:t>DEVELOPER </a:t>
            </a:r>
            <a:br>
              <a:rPr lang="en-US" sz="4800" dirty="0"/>
            </a:br>
            <a:r>
              <a:rPr lang="en-US" sz="4800" dirty="0"/>
              <a:t>RESOURCES</a:t>
            </a:r>
          </a:p>
        </p:txBody>
      </p:sp>
      <p:sp>
        <p:nvSpPr>
          <p:cNvPr id="35" name="Rectangle 34">
            <a:extLst>
              <a:ext uri="{FF2B5EF4-FFF2-40B4-BE49-F238E27FC236}">
                <a16:creationId xmlns:a16="http://schemas.microsoft.com/office/drawing/2014/main" id="{30330D68-BC54-4596-B072-5EF8EF56ABA9}"/>
              </a:ext>
            </a:extLst>
          </p:cNvPr>
          <p:cNvSpPr/>
          <p:nvPr/>
        </p:nvSpPr>
        <p:spPr bwMode="auto">
          <a:xfrm>
            <a:off x="5334351" y="488"/>
            <a:ext cx="6857650" cy="685512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Content Placeholder 6">
            <a:extLst>
              <a:ext uri="{FF2B5EF4-FFF2-40B4-BE49-F238E27FC236}">
                <a16:creationId xmlns:a16="http://schemas.microsoft.com/office/drawing/2014/main" id="{DA79D59A-A582-4A1F-B754-8C6238EA5941}"/>
              </a:ext>
            </a:extLst>
          </p:cNvPr>
          <p:cNvSpPr txBox="1">
            <a:spLocks/>
          </p:cNvSpPr>
          <p:nvPr/>
        </p:nvSpPr>
        <p:spPr>
          <a:xfrm>
            <a:off x="5583980" y="344431"/>
            <a:ext cx="6608020" cy="789731"/>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0"/>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Pricing</a:t>
            </a:r>
          </a:p>
          <a:p>
            <a:pPr marL="0"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pricing/details/cognitive-services/</a:t>
            </a:r>
            <a:endParaRPr lang="en-US" sz="2157" dirty="0">
              <a:gradFill>
                <a:gsLst>
                  <a:gs pos="10909">
                    <a:srgbClr val="3F3F3F"/>
                  </a:gs>
                  <a:gs pos="43000">
                    <a:srgbClr val="3F3F3F"/>
                  </a:gs>
                </a:gsLst>
                <a:lin ang="5400000" scaled="0"/>
              </a:gradFill>
              <a:cs typeface="Segoe UI" panose="020B0502040204020203" pitchFamily="34" charset="0"/>
            </a:endParaRPr>
          </a:p>
        </p:txBody>
      </p:sp>
      <p:sp>
        <p:nvSpPr>
          <p:cNvPr id="37" name="Content Placeholder 6">
            <a:extLst>
              <a:ext uri="{FF2B5EF4-FFF2-40B4-BE49-F238E27FC236}">
                <a16:creationId xmlns:a16="http://schemas.microsoft.com/office/drawing/2014/main" id="{8E9B5726-2527-437A-AE38-7DD58CF3C0E2}"/>
              </a:ext>
            </a:extLst>
          </p:cNvPr>
          <p:cNvSpPr txBox="1">
            <a:spLocks/>
          </p:cNvSpPr>
          <p:nvPr/>
        </p:nvSpPr>
        <p:spPr>
          <a:xfrm>
            <a:off x="5583980" y="1475703"/>
            <a:ext cx="6608020" cy="789015"/>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Documentation</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docs.microsoft.com/en-us/azure/#pivot=products&amp;panel=cognitive</a:t>
            </a:r>
          </a:p>
        </p:txBody>
      </p:sp>
      <p:sp>
        <p:nvSpPr>
          <p:cNvPr id="38" name="Content Placeholder 6">
            <a:extLst>
              <a:ext uri="{FF2B5EF4-FFF2-40B4-BE49-F238E27FC236}">
                <a16:creationId xmlns:a16="http://schemas.microsoft.com/office/drawing/2014/main" id="{719CF955-62E4-4604-B2E8-58A0223A96D7}"/>
              </a:ext>
            </a:extLst>
          </p:cNvPr>
          <p:cNvSpPr txBox="1">
            <a:spLocks/>
          </p:cNvSpPr>
          <p:nvPr/>
        </p:nvSpPr>
        <p:spPr>
          <a:xfrm>
            <a:off x="5583980" y="2655730"/>
            <a:ext cx="6608020" cy="1169189"/>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Client</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SDKs</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resources/samples/?sort=0&amp;term=cognitive+services https://github.com/southwood/project-oxford-python </a:t>
            </a:r>
          </a:p>
        </p:txBody>
      </p:sp>
      <p:sp>
        <p:nvSpPr>
          <p:cNvPr id="39" name="Content Placeholder 6">
            <a:extLst>
              <a:ext uri="{FF2B5EF4-FFF2-40B4-BE49-F238E27FC236}">
                <a16:creationId xmlns:a16="http://schemas.microsoft.com/office/drawing/2014/main" id="{C4CC7AFD-965D-49AE-A4C7-C9482B37B18C}"/>
              </a:ext>
            </a:extLst>
          </p:cNvPr>
          <p:cNvSpPr txBox="1">
            <a:spLocks/>
          </p:cNvSpPr>
          <p:nvPr/>
        </p:nvSpPr>
        <p:spPr>
          <a:xfrm>
            <a:off x="5583980" y="3990417"/>
            <a:ext cx="6608020" cy="1208307"/>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Example</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d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jsturtevant/happy-image-tester-django </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Microsoft/Cognitive-Face-Android https://github.com/Microsoft/Cognitive-Samples-IntelligentKiosk</a:t>
            </a:r>
          </a:p>
        </p:txBody>
      </p:sp>
      <p:sp>
        <p:nvSpPr>
          <p:cNvPr id="40" name="Content Placeholder 6">
            <a:extLst>
              <a:ext uri="{FF2B5EF4-FFF2-40B4-BE49-F238E27FC236}">
                <a16:creationId xmlns:a16="http://schemas.microsoft.com/office/drawing/2014/main" id="{643398A0-B78D-49F7-A324-109FCE55B877}"/>
              </a:ext>
            </a:extLst>
          </p:cNvPr>
          <p:cNvSpPr txBox="1">
            <a:spLocks/>
          </p:cNvSpPr>
          <p:nvPr/>
        </p:nvSpPr>
        <p:spPr>
          <a:xfrm>
            <a:off x="5583980" y="5380884"/>
            <a:ext cx="6608020" cy="1016818"/>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Join</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Our</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mmunity</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stackoverflow.com/questions/tagged/microsoft-cognitiv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cognitive.uservoice.com/</a:t>
            </a:r>
          </a:p>
        </p:txBody>
      </p:sp>
      <p:cxnSp>
        <p:nvCxnSpPr>
          <p:cNvPr id="41" name="Straight Connector 40">
            <a:extLst>
              <a:ext uri="{FF2B5EF4-FFF2-40B4-BE49-F238E27FC236}">
                <a16:creationId xmlns:a16="http://schemas.microsoft.com/office/drawing/2014/main" id="{13754B26-051F-44EC-9B4A-7EE02F2B7BB5}"/>
              </a:ext>
            </a:extLst>
          </p:cNvPr>
          <p:cNvCxnSpPr>
            <a:cxnSpLocks/>
          </p:cNvCxnSpPr>
          <p:nvPr/>
        </p:nvCxnSpPr>
        <p:spPr>
          <a:xfrm>
            <a:off x="5313186" y="1289098"/>
            <a:ext cx="6881928" cy="0"/>
          </a:xfrm>
          <a:prstGeom prst="line">
            <a:avLst/>
          </a:prstGeom>
          <a:noFill/>
          <a:ln w="25400" cap="flat" cmpd="sng" algn="ctr">
            <a:solidFill>
              <a:sysClr val="window" lastClr="FFFFFF"/>
            </a:solidFill>
            <a:prstDash val="solid"/>
            <a:headEnd type="none"/>
            <a:tailEnd type="none"/>
          </a:ln>
          <a:effectLst/>
        </p:spPr>
      </p:cxnSp>
      <p:cxnSp>
        <p:nvCxnSpPr>
          <p:cNvPr id="42" name="Straight Connector 41">
            <a:extLst>
              <a:ext uri="{FF2B5EF4-FFF2-40B4-BE49-F238E27FC236}">
                <a16:creationId xmlns:a16="http://schemas.microsoft.com/office/drawing/2014/main" id="{7A4DC865-47A1-48D1-9DAD-B91242B2113B}"/>
              </a:ext>
            </a:extLst>
          </p:cNvPr>
          <p:cNvCxnSpPr>
            <a:cxnSpLocks/>
          </p:cNvCxnSpPr>
          <p:nvPr/>
        </p:nvCxnSpPr>
        <p:spPr>
          <a:xfrm>
            <a:off x="5313186" y="2484331"/>
            <a:ext cx="6881928" cy="0"/>
          </a:xfrm>
          <a:prstGeom prst="line">
            <a:avLst/>
          </a:prstGeom>
          <a:noFill/>
          <a:ln w="25400" cap="flat" cmpd="sng" algn="ctr">
            <a:solidFill>
              <a:sysClr val="window" lastClr="FFFFFF"/>
            </a:solidFill>
            <a:prstDash val="solid"/>
            <a:headEnd type="none"/>
            <a:tailEnd type="none"/>
          </a:ln>
          <a:effectLst/>
        </p:spPr>
      </p:cxnSp>
      <p:cxnSp>
        <p:nvCxnSpPr>
          <p:cNvPr id="43" name="Straight Connector 42">
            <a:extLst>
              <a:ext uri="{FF2B5EF4-FFF2-40B4-BE49-F238E27FC236}">
                <a16:creationId xmlns:a16="http://schemas.microsoft.com/office/drawing/2014/main" id="{CF74AAAA-60D9-4AE7-B35B-DA737A7A9E75}"/>
              </a:ext>
            </a:extLst>
          </p:cNvPr>
          <p:cNvCxnSpPr>
            <a:cxnSpLocks/>
          </p:cNvCxnSpPr>
          <p:nvPr/>
        </p:nvCxnSpPr>
        <p:spPr>
          <a:xfrm>
            <a:off x="5313186" y="3996317"/>
            <a:ext cx="6881928" cy="0"/>
          </a:xfrm>
          <a:prstGeom prst="line">
            <a:avLst/>
          </a:prstGeom>
          <a:noFill/>
          <a:ln w="25400" cap="flat" cmpd="sng" algn="ctr">
            <a:solidFill>
              <a:sysClr val="window" lastClr="FFFFFF"/>
            </a:solidFill>
            <a:prstDash val="solid"/>
            <a:headEnd type="none"/>
            <a:tailEnd type="none"/>
          </a:ln>
          <a:effectLst/>
        </p:spPr>
      </p:cxnSp>
      <p:cxnSp>
        <p:nvCxnSpPr>
          <p:cNvPr id="44" name="Straight Connector 43">
            <a:extLst>
              <a:ext uri="{FF2B5EF4-FFF2-40B4-BE49-F238E27FC236}">
                <a16:creationId xmlns:a16="http://schemas.microsoft.com/office/drawing/2014/main" id="{F2E9428A-BDA0-45B3-8077-D4EF9537B48C}"/>
              </a:ext>
            </a:extLst>
          </p:cNvPr>
          <p:cNvCxnSpPr>
            <a:cxnSpLocks/>
          </p:cNvCxnSpPr>
          <p:nvPr/>
        </p:nvCxnSpPr>
        <p:spPr>
          <a:xfrm>
            <a:off x="5313186" y="5212607"/>
            <a:ext cx="6881928" cy="0"/>
          </a:xfrm>
          <a:prstGeom prst="line">
            <a:avLst/>
          </a:prstGeom>
          <a:noFill/>
          <a:ln w="25400" cap="flat" cmpd="sng" algn="ctr">
            <a:solidFill>
              <a:sysClr val="window" lastClr="FFFFFF"/>
            </a:solidFill>
            <a:prstDash val="solid"/>
            <a:headEnd type="none"/>
            <a:tailEnd type="none"/>
          </a:ln>
          <a:effectLst/>
        </p:spPr>
      </p:cxnSp>
    </p:spTree>
    <p:extLst>
      <p:ext uri="{BB962C8B-B14F-4D97-AF65-F5344CB8AC3E}">
        <p14:creationId xmlns:p14="http://schemas.microsoft.com/office/powerpoint/2010/main" val="15589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4734" y="487"/>
            <a:ext cx="11078251" cy="1325375"/>
          </a:xfrm>
        </p:spPr>
        <p:txBody>
          <a:bodyPr/>
          <a:lstStyle/>
          <a:p>
            <a:r>
              <a:rPr lang="en-US"/>
              <a:t>Resources, Tutorials &amp; Demos</a:t>
            </a:r>
            <a:endParaRPr lang="en-US" dirty="0"/>
          </a:p>
        </p:txBody>
      </p:sp>
      <p:sp>
        <p:nvSpPr>
          <p:cNvPr id="3" name="Content Placeholder 2"/>
          <p:cNvSpPr>
            <a:spLocks noGrp="1"/>
          </p:cNvSpPr>
          <p:nvPr>
            <p:ph idx="4294967295"/>
          </p:nvPr>
        </p:nvSpPr>
        <p:spPr>
          <a:xfrm>
            <a:off x="209578" y="1129858"/>
            <a:ext cx="11571885" cy="5465825"/>
          </a:xfrm>
          <a:prstGeom prst="rect">
            <a:avLst/>
          </a:prstGeom>
        </p:spPr>
        <p:txBody>
          <a:bodyPr>
            <a:noAutofit/>
          </a:bodyPr>
          <a:lstStyle/>
          <a:p>
            <a:r>
              <a:rPr lang="en-US" sz="2353" dirty="0"/>
              <a:t>AI &amp; Cognitive Services Tutorials: </a:t>
            </a:r>
            <a:r>
              <a:rPr lang="en-US" sz="2353" dirty="0">
                <a:hlinkClick r:id="rId3"/>
              </a:rPr>
              <a:t>https://aka.ms/aicog</a:t>
            </a:r>
            <a:r>
              <a:rPr lang="en-US" sz="2353" dirty="0"/>
              <a:t> </a:t>
            </a:r>
          </a:p>
          <a:p>
            <a:r>
              <a:rPr lang="en-US" sz="2353" dirty="0"/>
              <a:t>Code Samples on Cognitive Services: </a:t>
            </a:r>
            <a:r>
              <a:rPr lang="en-US" sz="2353" dirty="0">
                <a:hlinkClick r:id="rId4"/>
              </a:rPr>
              <a:t>https://aka.ms/cogsamples</a:t>
            </a:r>
            <a:r>
              <a:rPr lang="en-US" sz="2353" dirty="0"/>
              <a:t> </a:t>
            </a:r>
          </a:p>
          <a:p>
            <a:endParaRPr lang="en-US" sz="2353" dirty="0"/>
          </a:p>
          <a:p>
            <a:r>
              <a:rPr lang="en-US" sz="2353" dirty="0"/>
              <a:t>C# Tutorial: </a:t>
            </a:r>
            <a:r>
              <a:rPr lang="en-US" sz="2353" dirty="0">
                <a:hlinkClick r:id="rId5"/>
              </a:rPr>
              <a:t>https://aka.ms/face-cs</a:t>
            </a:r>
            <a:r>
              <a:rPr lang="en-US" sz="2353" dirty="0"/>
              <a:t> </a:t>
            </a:r>
          </a:p>
          <a:p>
            <a:r>
              <a:rPr lang="en-US" sz="2353" dirty="0"/>
              <a:t>Java Tutorial: </a:t>
            </a:r>
            <a:r>
              <a:rPr lang="en-US" sz="2353" dirty="0">
                <a:hlinkClick r:id="rId6"/>
              </a:rPr>
              <a:t>https://aka.ms/face-jv</a:t>
            </a:r>
            <a:r>
              <a:rPr lang="en-US" sz="2353" dirty="0"/>
              <a:t> </a:t>
            </a:r>
          </a:p>
          <a:p>
            <a:r>
              <a:rPr lang="en-US" sz="2353" dirty="0"/>
              <a:t>Python Tutorial: </a:t>
            </a:r>
            <a:r>
              <a:rPr lang="en-US" sz="2353" dirty="0">
                <a:hlinkClick r:id="rId7"/>
              </a:rPr>
              <a:t>https://aka.ms/face-py</a:t>
            </a:r>
            <a:r>
              <a:rPr lang="en-US" sz="2353" dirty="0"/>
              <a:t> </a:t>
            </a:r>
          </a:p>
          <a:p>
            <a:endParaRPr lang="en-US" sz="2353" dirty="0"/>
          </a:p>
          <a:p>
            <a:r>
              <a:rPr lang="en-US" sz="2353" dirty="0"/>
              <a:t>APIs in Action: </a:t>
            </a:r>
          </a:p>
          <a:p>
            <a:r>
              <a:rPr lang="en-US" sz="2353" dirty="0"/>
              <a:t>How Old Bot: </a:t>
            </a:r>
            <a:r>
              <a:rPr lang="en-US" sz="2353" dirty="0">
                <a:hlinkClick r:id="rId8"/>
              </a:rPr>
              <a:t>https://how-old.net/</a:t>
            </a:r>
            <a:endParaRPr lang="en-US" sz="2353" dirty="0"/>
          </a:p>
          <a:p>
            <a:r>
              <a:rPr lang="en-US" sz="2353" dirty="0"/>
              <a:t>Celebs Like Me: </a:t>
            </a:r>
            <a:r>
              <a:rPr lang="en-US" sz="2353" dirty="0">
                <a:hlinkClick r:id="rId9"/>
              </a:rPr>
              <a:t>https://www.celebslike.me</a:t>
            </a:r>
            <a:r>
              <a:rPr lang="en-US" sz="2353" dirty="0"/>
              <a:t> </a:t>
            </a:r>
          </a:p>
          <a:p>
            <a:r>
              <a:rPr lang="en-US" sz="2353" dirty="0"/>
              <a:t>What Dog? </a:t>
            </a:r>
            <a:r>
              <a:rPr lang="en-US" sz="2353" dirty="0">
                <a:hlinkClick r:id="rId10"/>
              </a:rPr>
              <a:t>https://www.what-dog.net</a:t>
            </a:r>
            <a:endParaRPr lang="en-US" sz="2353" dirty="0"/>
          </a:p>
          <a:p>
            <a:r>
              <a:rPr lang="en-US" sz="2353" dirty="0"/>
              <a:t>Try Vision API: </a:t>
            </a:r>
            <a:r>
              <a:rPr lang="en-US" sz="2353" dirty="0">
                <a:hlinkClick r:id="rId11"/>
              </a:rPr>
              <a:t>https://aka.ms/tryvision</a:t>
            </a:r>
            <a:r>
              <a:rPr lang="en-US" sz="2353" dirty="0"/>
              <a:t> </a:t>
            </a:r>
          </a:p>
          <a:p>
            <a:endParaRPr lang="nl-NL" sz="2353" dirty="0"/>
          </a:p>
        </p:txBody>
      </p:sp>
    </p:spTree>
    <p:extLst>
      <p:ext uri="{BB962C8B-B14F-4D97-AF65-F5344CB8AC3E}">
        <p14:creationId xmlns:p14="http://schemas.microsoft.com/office/powerpoint/2010/main" val="16118342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912158-72BB-4B60-822D-AA0EA9F999D9}"/>
              </a:ext>
            </a:extLst>
          </p:cNvPr>
          <p:cNvSpPr>
            <a:spLocks noGrp="1"/>
          </p:cNvSpPr>
          <p:nvPr>
            <p:ph type="title"/>
          </p:nvPr>
        </p:nvSpPr>
        <p:spPr>
          <a:xfrm>
            <a:off x="269239" y="2084172"/>
            <a:ext cx="11653523" cy="1162178"/>
          </a:xfrm>
        </p:spPr>
        <p:txBody>
          <a:bodyPr/>
          <a:lstStyle/>
          <a:p>
            <a:r>
              <a:rPr lang="en-US" dirty="0"/>
              <a:t>Q&amp;A</a:t>
            </a:r>
          </a:p>
        </p:txBody>
      </p:sp>
    </p:spTree>
    <p:extLst>
      <p:ext uri="{BB962C8B-B14F-4D97-AF65-F5344CB8AC3E}">
        <p14:creationId xmlns:p14="http://schemas.microsoft.com/office/powerpoint/2010/main" val="39839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80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sp>
        <p:nvSpPr>
          <p:cNvPr id="36" name="Rectangle 35"/>
          <p:cNvSpPr/>
          <p:nvPr/>
        </p:nvSpPr>
        <p:spPr bwMode="auto">
          <a:xfrm>
            <a:off x="4094567"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ind the right API for your app</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sp>
        <p:nvSpPr>
          <p:cNvPr id="37" name="Rectangle 36"/>
          <p:cNvSpPr/>
          <p:nvPr/>
        </p:nvSpPr>
        <p:spPr bwMode="auto">
          <a:xfrm>
            <a:off x="8189134"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a:srcRect t="31789" b="27258"/>
          <a:stretch/>
        </p:blipFill>
        <p:spPr>
          <a:xfrm>
            <a:off x="1" y="-33322"/>
            <a:ext cx="12192000" cy="3353688"/>
          </a:xfrm>
          <a:prstGeom prst="rect">
            <a:avLst/>
          </a:prstGeom>
        </p:spPr>
      </p:pic>
      <p:sp>
        <p:nvSpPr>
          <p:cNvPr id="39" name="Rectangle 38"/>
          <p:cNvSpPr/>
          <p:nvPr/>
        </p:nvSpPr>
        <p:spPr bwMode="auto">
          <a:xfrm>
            <a:off x="1" y="-42189"/>
            <a:ext cx="8191775" cy="3364609"/>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0" y="2932097"/>
            <a:ext cx="3998202" cy="651728"/>
          </a:xfrm>
          <a:prstGeom prst="rect">
            <a:avLst/>
          </a:prstGeom>
          <a:solidFill>
            <a:schemeClr val="accent3"/>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64545">
                      <a:srgbClr val="FFFFFF"/>
                    </a:gs>
                    <a:gs pos="54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89901" y="2932097"/>
            <a:ext cx="4007533" cy="651728"/>
          </a:xfrm>
          <a:prstGeom prst="rect">
            <a:avLst/>
          </a:prstGeom>
          <a:solidFill>
            <a:schemeClr val="accent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71818">
                      <a:srgbClr val="FFFFFF"/>
                    </a:gs>
                    <a:gs pos="59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468" y="2932097"/>
            <a:ext cx="4007533" cy="651728"/>
          </a:xfrm>
          <a:prstGeom prst="rect">
            <a:avLst/>
          </a:prstGeom>
          <a:solidFill>
            <a:schemeClr val="tx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3636">
                      <a:srgbClr val="FFFFFF"/>
                    </a:gs>
                    <a:gs pos="2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5882">
                <a:gradFill>
                  <a:gsLst>
                    <a:gs pos="1250">
                      <a:schemeClr val="bg1"/>
                    </a:gs>
                    <a:gs pos="100000">
                      <a:schemeClr val="bg1"/>
                    </a:gs>
                  </a:gsLst>
                  <a:lin ang="5400000" scaled="0"/>
                </a:gradFill>
              </a:rPr>
              <a:t>Why Microsoft </a:t>
            </a:r>
            <a:br>
              <a:rPr lang="en-US" sz="5882">
                <a:gradFill>
                  <a:gsLst>
                    <a:gs pos="1250">
                      <a:schemeClr val="bg1"/>
                    </a:gs>
                    <a:gs pos="100000">
                      <a:schemeClr val="bg1"/>
                    </a:gs>
                  </a:gsLst>
                  <a:lin ang="5400000" scaled="0"/>
                </a:gradFill>
              </a:rPr>
            </a:br>
            <a:r>
              <a:rPr lang="en-US" sz="5882">
                <a:gradFill>
                  <a:gsLst>
                    <a:gs pos="1250">
                      <a:schemeClr val="bg1"/>
                    </a:gs>
                    <a:gs pos="100000">
                      <a:schemeClr val="bg1"/>
                    </a:gs>
                  </a:gsLst>
                  <a:lin ang="5400000" scaled="0"/>
                </a:gradFill>
              </a:rPr>
              <a:t>Cognitive Services?</a:t>
            </a:r>
          </a:p>
        </p:txBody>
      </p:sp>
      <p:grpSp>
        <p:nvGrpSpPr>
          <p:cNvPr id="21" name="Group 20"/>
          <p:cNvGrpSpPr/>
          <p:nvPr/>
        </p:nvGrpSpPr>
        <p:grpSpPr>
          <a:xfrm>
            <a:off x="329844" y="5210957"/>
            <a:ext cx="1838620" cy="1239175"/>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23" name="TextBox 22"/>
              <p:cNvSpPr txBox="1"/>
              <p:nvPr/>
            </p:nvSpPr>
            <p:spPr>
              <a:xfrm>
                <a:off x="481383" y="5677515"/>
                <a:ext cx="812663" cy="549003"/>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GET A</a:t>
                </a:r>
                <a:b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b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BUILD</a:t>
                </a:r>
              </a:p>
            </p:txBody>
          </p:sp>
        </p:grpSp>
      </p:grpSp>
      <p:sp>
        <p:nvSpPr>
          <p:cNvPr id="44" name="Freeform 11"/>
          <p:cNvSpPr>
            <a:spLocks noEditPoints="1"/>
          </p:cNvSpPr>
          <p:nvPr/>
        </p:nvSpPr>
        <p:spPr bwMode="black">
          <a:xfrm>
            <a:off x="5142627" y="5815072"/>
            <a:ext cx="393974" cy="48505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47"/>
          <p:cNvSpPr>
            <a:spLocks noChangeAspect="1" noEditPoints="1"/>
          </p:cNvSpPr>
          <p:nvPr/>
        </p:nvSpPr>
        <p:spPr bwMode="black">
          <a:xfrm>
            <a:off x="4320816" y="5873675"/>
            <a:ext cx="369347" cy="3678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74975" y="6212018"/>
            <a:ext cx="986844" cy="28637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724933" y="5734630"/>
            <a:ext cx="969698" cy="2606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350115" y="5585363"/>
            <a:ext cx="904484" cy="370839"/>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350114" y="6072289"/>
            <a:ext cx="1086866" cy="33198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549" y="6111307"/>
            <a:ext cx="1656731" cy="41047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706549" y="5490977"/>
            <a:ext cx="1635461" cy="4104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23053" y="5825144"/>
            <a:ext cx="365471" cy="442995"/>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3289" y="3017"/>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289" y="3017"/>
                        <a:ext cx="1556" cy="1556"/>
                      </a:xfrm>
                      <a:prstGeom prst="rect">
                        <a:avLst/>
                      </a:prstGeom>
                    </p:spPr>
                  </p:pic>
                </p:oleObj>
              </mc:Fallback>
            </mc:AlternateContent>
          </a:graphicData>
        </a:graphic>
      </p:graphicFrame>
      <p:sp>
        <p:nvSpPr>
          <p:cNvPr id="5" name="Title 4"/>
          <p:cNvSpPr>
            <a:spLocks noGrp="1"/>
          </p:cNvSpPr>
          <p:nvPr>
            <p:ph type="title"/>
          </p:nvPr>
        </p:nvSpPr>
        <p:spPr>
          <a:xfrm>
            <a:off x="455176" y="280407"/>
            <a:ext cx="11373624" cy="663797"/>
          </a:xfrm>
        </p:spPr>
        <p:txBody>
          <a:bodyPr vert="horz" wrap="square" lIns="0" tIns="0" rIns="0" bIns="0" rtlCol="0" anchor="t">
            <a:spAutoFit/>
          </a:bodyPr>
          <a:lstStyle/>
          <a:p>
            <a:pPr algn="ctr"/>
            <a:r>
              <a:rPr lang="en-US" sz="4313" b="0" dirty="0">
                <a:solidFill>
                  <a:schemeClr val="tx1"/>
                </a:solidFill>
                <a:latin typeface="+mn-lt"/>
              </a:rPr>
              <a:t>Combining Services for real-world applications</a:t>
            </a:r>
          </a:p>
        </p:txBody>
      </p:sp>
      <p:graphicFrame>
        <p:nvGraphicFramePr>
          <p:cNvPr id="75" name="Table 20"/>
          <p:cNvGraphicFramePr>
            <a:graphicFrameLocks noGrp="1"/>
          </p:cNvGraphicFramePr>
          <p:nvPr>
            <p:extLst/>
          </p:nvPr>
        </p:nvGraphicFramePr>
        <p:xfrm>
          <a:off x="494787" y="4667395"/>
          <a:ext cx="2139088" cy="1057302"/>
        </p:xfrm>
        <a:graphic>
          <a:graphicData uri="http://schemas.openxmlformats.org/drawingml/2006/table">
            <a:tbl>
              <a:tblPr firstRow="1" bandRow="1"/>
              <a:tblGrid>
                <a:gridCol w="1111235">
                  <a:extLst>
                    <a:ext uri="{9D8B030D-6E8A-4147-A177-3AD203B41FA5}">
                      <a16:colId xmlns:a16="http://schemas.microsoft.com/office/drawing/2014/main" val="20000"/>
                    </a:ext>
                  </a:extLst>
                </a:gridCol>
                <a:gridCol w="1027853">
                  <a:extLst>
                    <a:ext uri="{9D8B030D-6E8A-4147-A177-3AD203B41FA5}">
                      <a16:colId xmlns:a16="http://schemas.microsoft.com/office/drawing/2014/main" val="20001"/>
                    </a:ext>
                  </a:extLst>
                </a:gridCol>
              </a:tblGrid>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2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44656" y="1249168"/>
            <a:ext cx="2218314" cy="5050422"/>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defRPr/>
              </a:pPr>
              <a:r>
                <a:rPr lang="en-US" sz="1100" b="1"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55175" y="1296065"/>
            <a:ext cx="2218314" cy="478160"/>
            <a:chOff x="454375" y="1295762"/>
            <a:chExt cx="2218629" cy="478228"/>
          </a:xfrm>
          <a:solidFill>
            <a:schemeClr val="accent3"/>
          </a:solidFill>
        </p:grpSpPr>
        <p:sp>
          <p:nvSpPr>
            <p:cNvPr id="88" name="Freeform 78"/>
            <p:cNvSpPr/>
            <p:nvPr/>
          </p:nvSpPr>
          <p:spPr bwMode="auto">
            <a:xfrm>
              <a:off x="4543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dirty="0">
                  <a:solidFill>
                    <a:srgbClr val="FFFFFF"/>
                  </a:solidFill>
                  <a:latin typeface="Segoe UI Semibold" panose="020B0702040204020203" pitchFamily="34" charset="0"/>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a:noFill/>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748577" y="1296064"/>
            <a:ext cx="2218314" cy="5005581"/>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1427" tIns="45713" rIns="91427" bIns="45713"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563">
                    <a:spcAft>
                      <a:spcPts val="574"/>
                    </a:spcAft>
                    <a:defRPr/>
                  </a:pPr>
                  <a:r>
                    <a:rPr lang="en-US" i="0" kern="1200" dirty="0">
                      <a:gradFill>
                        <a:gsLst>
                          <a:gs pos="70732">
                            <a:srgbClr val="3F3F3F"/>
                          </a:gs>
                          <a:gs pos="50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1427" tIns="45713" rIns="91427" bIns="45713"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563">
                    <a:spcAft>
                      <a:spcPts val="574"/>
                    </a:spcAft>
                    <a:defRPr/>
                  </a:pPr>
                  <a:r>
                    <a:rPr lang="en-US" i="0" kern="1200" dirty="0">
                      <a:gradFill>
                        <a:gsLst>
                          <a:gs pos="70732">
                            <a:srgbClr val="3F3F3F"/>
                          </a:gs>
                          <a:gs pos="50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1427" tIns="45713" rIns="91427" bIns="45713" rtlCol="0" anchor="ctr" anchorCtr="0">
                  <a:noAutofit/>
                </a:bodyPr>
                <a:lstStyle/>
                <a:p>
                  <a:pPr defTabSz="932563">
                    <a:lnSpc>
                      <a:spcPct val="90000"/>
                    </a:lnSpc>
                    <a:spcAft>
                      <a:spcPts val="574"/>
                    </a:spcAft>
                    <a:defRPr/>
                  </a:pPr>
                  <a:r>
                    <a:rPr lang="en-US" sz="1100" dirty="0">
                      <a:gradFill>
                        <a:gsLst>
                          <a:gs pos="70732">
                            <a:srgbClr val="3F3F3F"/>
                          </a:gs>
                          <a:gs pos="50000">
                            <a:srgbClr val="3F3F3F"/>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18762">
                    <a:defRPr/>
                  </a:pPr>
                  <a:endParaRPr lang="en-US" sz="2400">
                    <a:solidFill>
                      <a:srgbClr val="FFFFFF"/>
                    </a:solidFill>
                    <a:latin typeface="Segoe UI"/>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748577" y="1249169"/>
            <a:ext cx="2218314" cy="519783"/>
            <a:chOff x="2748101" y="1248859"/>
            <a:chExt cx="2218629" cy="519857"/>
          </a:xfrm>
          <a:solidFill>
            <a:schemeClr val="accent3"/>
          </a:solidFill>
        </p:grpSpPr>
        <p:sp>
          <p:nvSpPr>
            <p:cNvPr id="71" name="Freeform 83"/>
            <p:cNvSpPr/>
            <p:nvPr/>
          </p:nvSpPr>
          <p:spPr bwMode="auto">
            <a:xfrm>
              <a:off x="2748101"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dirty="0">
                  <a:solidFill>
                    <a:srgbClr val="FFFFFF"/>
                  </a:solidFill>
                  <a:latin typeface="Segoe UI Semibold" panose="020B0702040204020203" pitchFamily="34" charset="0"/>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a:noFill/>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85452" y="1296064"/>
            <a:ext cx="6641593" cy="5005581"/>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8" y="4700874"/>
              <a:ext cx="1656137" cy="926427"/>
              <a:chOff x="3964499" y="3921129"/>
              <a:chExt cx="1242279" cy="694918"/>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85663" cy="114294"/>
              </a:xfrm>
              <a:prstGeom prst="rect">
                <a:avLst/>
              </a:prstGeom>
              <a:noFill/>
              <a:ln>
                <a:noFill/>
              </a:ln>
            </p:spPr>
            <p:txBody>
              <a:bodyPr wrap="none" lIns="0" tIns="0" rIns="0" bIns="0" rtlCol="0">
                <a:spAutoFit/>
              </a:bodyPr>
              <a:lstStyle/>
              <a:p>
                <a:pPr defTabSz="932563">
                  <a:lnSpc>
                    <a:spcPct val="90000"/>
                  </a:lnSpc>
                  <a:spcAft>
                    <a:spcPts val="574"/>
                  </a:spcAft>
                  <a:defRPr/>
                </a:pPr>
                <a:r>
                  <a:rPr lang="en-US" sz="1100" dirty="0">
                    <a:gradFill>
                      <a:gsLst>
                        <a:gs pos="70732">
                          <a:srgbClr val="3F3F3F"/>
                        </a:gs>
                        <a:gs pos="50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42279" cy="114294"/>
              </a:xfrm>
              <a:prstGeom prst="rect">
                <a:avLst/>
              </a:prstGeom>
              <a:noFill/>
              <a:ln>
                <a:noFill/>
              </a:ln>
            </p:spPr>
            <p:txBody>
              <a:bodyPr wrap="none" lIns="0" tIns="0" rIns="0" bIns="0" rtlCol="0">
                <a:spAutoFit/>
              </a:bodyPr>
              <a:lstStyle/>
              <a:p>
                <a:pPr defTabSz="932563">
                  <a:lnSpc>
                    <a:spcPct val="90000"/>
                  </a:lnSpc>
                  <a:spcAft>
                    <a:spcPts val="574"/>
                  </a:spcAft>
                  <a:defRPr/>
                </a:pPr>
                <a:r>
                  <a:rPr lang="en-US" sz="1100">
                    <a:gradFill>
                      <a:gsLst>
                        <a:gs pos="70732">
                          <a:srgbClr val="3F3F3F"/>
                        </a:gs>
                        <a:gs pos="50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167162"/>
              <a:ext cx="1919410" cy="1523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125"/>
            </a:xfrm>
            <a:prstGeom prst="rect">
              <a:avLst/>
            </a:prstGeom>
            <a:noFill/>
            <a:ln w="25400">
              <a:solidFill>
                <a:srgbClr val="6E6E73">
                  <a:lumMod val="20000"/>
                  <a:lumOff val="80000"/>
                </a:srgbClr>
              </a:solidFill>
            </a:ln>
          </p:spPr>
          <p:txBody>
            <a:bodyPr wrap="square" lIns="175686" tIns="140549" rIns="175686" bIns="140549" rtlCol="0">
              <a:spAutoFit/>
            </a:bodyPr>
            <a:lstStyle/>
            <a:p>
              <a:pPr marL="0" lvl="1" defTabSz="895900">
                <a:defRPr/>
              </a:pPr>
              <a:r>
                <a:rPr lang="en-US" sz="1174" kern="0">
                  <a:solidFill>
                    <a:sysClr val="windowText" lastClr="000000"/>
                  </a:solidFill>
                  <a:latin typeface="Consolas" panose="020B0609020204030204" pitchFamily="49" charset="0"/>
                  <a:cs typeface="Consolas" panose="020B0609020204030204" pitchFamily="49" charset="0"/>
                </a:rPr>
                <a:t>Intent: </a:t>
              </a:r>
              <a:r>
                <a:rPr lang="en-US" sz="1174" kern="0" err="1">
                  <a:solidFill>
                    <a:sysClr val="windowText" lastClr="000000"/>
                  </a:solidFill>
                  <a:latin typeface="Consolas" panose="020B0609020204030204" pitchFamily="49" charset="0"/>
                  <a:cs typeface="Consolas" panose="020B0609020204030204" pitchFamily="49" charset="0"/>
                </a:rPr>
                <a:t>PlayCall</a:t>
              </a:r>
              <a:endParaRPr lang="en-US" sz="1174" kern="0">
                <a:solidFill>
                  <a:sysClr val="windowText" lastClr="000000"/>
                </a:solidFill>
                <a:latin typeface="Consolas" panose="020B0609020204030204" pitchFamily="49" charset="0"/>
                <a:cs typeface="Consolas" panose="020B0609020204030204" pitchFamily="49" charset="0"/>
              </a:endParaRPr>
            </a:p>
            <a:p>
              <a:pPr marL="0" lvl="1" defTabSz="895900">
                <a:defRPr/>
              </a:pPr>
              <a:r>
                <a:rPr lang="en-US" sz="1174"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895900">
                <a:defRPr/>
              </a:pPr>
              <a:r>
                <a:rPr lang="en-US" sz="1174"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74"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7173"/>
              <a:ext cx="1919410" cy="15237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7173"/>
              <a:ext cx="1919410" cy="15237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008730" y="1225160"/>
            <a:ext cx="2218314" cy="567800"/>
            <a:chOff x="5008575" y="1224846"/>
            <a:chExt cx="2218629" cy="567881"/>
          </a:xfrm>
          <a:solidFill>
            <a:schemeClr val="accent3"/>
          </a:solidFill>
        </p:grpSpPr>
        <p:sp>
          <p:nvSpPr>
            <p:cNvPr id="73" name="Freeform 118"/>
            <p:cNvSpPr/>
            <p:nvPr/>
          </p:nvSpPr>
          <p:spPr bwMode="auto">
            <a:xfrm>
              <a:off x="50085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a:solidFill>
                    <a:srgbClr val="FFFFFF"/>
                  </a:solidFill>
                  <a:latin typeface="Segoe UI Semibold" panose="020B0702040204020203" pitchFamily="34" charset="0"/>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a:noFill/>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268880" y="1296064"/>
            <a:ext cx="2218315" cy="5005581"/>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Pair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673773" cy="304742"/>
            </a:xfrm>
            <a:prstGeom prst="rect">
              <a:avLst/>
            </a:prstGeom>
            <a:noFill/>
            <a:ln>
              <a:noFill/>
            </a:ln>
          </p:spPr>
          <p:txBody>
            <a:bodyPr wrap="none" lIns="0" tIns="0" rIns="0" bIns="0" rtlCol="0">
              <a:spAutoFit/>
            </a:bodyPr>
            <a:lstStyle/>
            <a:p>
              <a:pPr marL="0" lvl="1" defTabSz="895537">
                <a:lnSpc>
                  <a:spcPct val="90000"/>
                </a:lnSpc>
                <a:defRPr/>
              </a:pPr>
              <a:r>
                <a:rPr lang="en-US" sz="1100" b="1" kern="0" dirty="0">
                  <a:gradFill>
                    <a:gsLst>
                      <a:gs pos="84000">
                        <a:srgbClr val="3F3F3F"/>
                      </a:gs>
                      <a:gs pos="43000">
                        <a:srgbClr val="3F3F3F"/>
                      </a:gs>
                    </a:gsLst>
                    <a:lin ang="10800000" scaled="0"/>
                  </a:gradFill>
                  <a:latin typeface="Segoe UI"/>
                  <a:cs typeface="Segoe UI" pitchFamily="34" charset="0"/>
                </a:rPr>
                <a:t>Automatic extraction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268880" y="1273357"/>
            <a:ext cx="2218314" cy="517978"/>
            <a:chOff x="7269046" y="1273050"/>
            <a:chExt cx="2218629" cy="518052"/>
          </a:xfrm>
          <a:solidFill>
            <a:schemeClr val="accent3"/>
          </a:solidFill>
        </p:grpSpPr>
        <p:sp>
          <p:nvSpPr>
            <p:cNvPr id="77" name="Freeform 117"/>
            <p:cNvSpPr/>
            <p:nvPr/>
          </p:nvSpPr>
          <p:spPr bwMode="auto">
            <a:xfrm>
              <a:off x="7269046"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a:solidFill>
                    <a:srgbClr val="FFFFFF"/>
                  </a:solidFill>
                  <a:latin typeface="Segoe UI Semibold" panose="020B0702040204020203" pitchFamily="34" charset="0"/>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a:noFill/>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529031" y="1296064"/>
            <a:ext cx="2218314" cy="5005581"/>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62147" cy="152371"/>
            </a:xfrm>
            <a:prstGeom prst="rect">
              <a:avLst/>
            </a:prstGeom>
            <a:noFill/>
            <a:ln>
              <a:noFill/>
            </a:ln>
          </p:spPr>
          <p:txBody>
            <a:bodyPr wrap="none" lIns="0" tIns="0" rIns="0" bIns="0" rtlCol="0">
              <a:spAutoFit/>
            </a:bodyPr>
            <a:lstStyle/>
            <a:p>
              <a:pPr marL="0" lvl="1" defTabSz="895537">
                <a:lnSpc>
                  <a:spcPct val="90000"/>
                </a:lnSpc>
                <a:defRPr/>
              </a:pPr>
              <a:r>
                <a:rPr lang="en-US" sz="1100"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6" tIns="24376" rIns="36566" bIns="24376" numCol="1" spcCol="0" rtlCol="0" fromWordArt="0" anchor="t" anchorCtr="0" forceAA="0" compatLnSpc="1">
              <a:prstTxWarp prst="textNoShape">
                <a:avLst/>
              </a:prstTxWarp>
              <a:noAutofit/>
            </a:bodyPr>
            <a:lstStyle/>
            <a:p>
              <a:pPr defTabSz="1218762">
                <a:lnSpc>
                  <a:spcPct val="90000"/>
                </a:lnSpc>
                <a:spcAft>
                  <a:spcPts val="267"/>
                </a:spcAft>
                <a:defRPr/>
              </a:pPr>
              <a:r>
                <a:rPr lang="en-US" sz="800"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18762">
                <a:lnSpc>
                  <a:spcPct val="90000"/>
                </a:lnSpc>
                <a:spcAft>
                  <a:spcPts val="267"/>
                </a:spcAft>
                <a:defRPr/>
              </a:pPr>
              <a:r>
                <a:rPr lang="en-US" sz="600" dirty="0">
                  <a:gradFill>
                    <a:gsLst>
                      <a:gs pos="28455">
                        <a:srgbClr val="3F3F3F"/>
                      </a:gs>
                      <a:gs pos="69000">
                        <a:srgbClr val="3F3F3F"/>
                      </a:gs>
                    </a:gsLst>
                    <a:lin ang="10800000" scaled="0"/>
                  </a:gradFill>
                  <a:latin typeface="Segoe UI"/>
                  <a:cs typeface="Segoe UI Semibold" panose="020B0702040204020203" pitchFamily="34" charset="0"/>
                </a:rPr>
                <a:t>It also investigates the top three expected </a:t>
              </a:r>
              <a:r>
                <a:rPr lang="en-US" sz="600" b="1" dirty="0">
                  <a:gradFill>
                    <a:gsLst>
                      <a:gs pos="28455">
                        <a:srgbClr val="3F3F3F"/>
                      </a:gs>
                      <a:gs pos="69000">
                        <a:srgbClr val="3F3F3F"/>
                      </a:gs>
                    </a:gsLst>
                    <a:lin ang="10800000" scaled="0"/>
                  </a:gradFill>
                  <a:latin typeface="Segoe UI"/>
                  <a:cs typeface="Segoe UI Semibold" panose="020B0702040204020203" pitchFamily="34" charset="0"/>
                </a:rPr>
                <a:t>Fraud</a:t>
              </a:r>
              <a:r>
                <a:rPr lang="en-US" sz="600" dirty="0">
                  <a:gradFill>
                    <a:gsLst>
                      <a:gs pos="28455">
                        <a:srgbClr val="3F3F3F"/>
                      </a:gs>
                      <a:gs pos="69000">
                        <a:srgbClr val="3F3F3F"/>
                      </a:gs>
                    </a:gsLst>
                    <a:lin ang="10800000" scaled="0"/>
                  </a:gradFill>
                  <a:latin typeface="Segoe UI"/>
                  <a:cs typeface="Segoe UI Semibold" panose="020B0702040204020203" pitchFamily="34" charset="0"/>
                </a:rPr>
                <a:t> Detection and </a:t>
              </a:r>
              <a:r>
                <a:rPr lang="en-US" sz="600" b="1" dirty="0">
                  <a:gradFill>
                    <a:gsLst>
                      <a:gs pos="28455">
                        <a:srgbClr val="3F3F3F"/>
                      </a:gs>
                      <a:gs pos="69000">
                        <a:srgbClr val="3F3F3F"/>
                      </a:gs>
                    </a:gsLst>
                    <a:lin ang="10800000" scaled="0"/>
                  </a:gradFill>
                  <a:latin typeface="Segoe UI"/>
                  <a:cs typeface="Segoe UI Semibold" panose="020B0702040204020203" pitchFamily="34" charset="0"/>
                </a:rPr>
                <a:t>Prevention</a:t>
              </a:r>
              <a:r>
                <a:rPr lang="en-US" sz="600" dirty="0">
                  <a:gradFill>
                    <a:gsLst>
                      <a:gs pos="28455">
                        <a:srgbClr val="3F3F3F"/>
                      </a:gs>
                      <a:gs pos="69000">
                        <a:srgbClr val="3F3F3F"/>
                      </a:gs>
                    </a:gsLst>
                    <a:lin ang="10800000" scaled="0"/>
                  </a:gra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6" tIns="24376" rIns="36566" bIns="24376" numCol="1" spcCol="0" rtlCol="0" fromWordArt="0" anchor="t" anchorCtr="0" forceAA="0" compatLnSpc="1">
              <a:prstTxWarp prst="textNoShape">
                <a:avLst/>
              </a:prstTxWarp>
              <a:noAutofit/>
            </a:bodyPr>
            <a:lstStyle/>
            <a:p>
              <a:pPr defTabSz="1218762">
                <a:lnSpc>
                  <a:spcPct val="90000"/>
                </a:lnSpc>
                <a:spcAft>
                  <a:spcPts val="267"/>
                </a:spcAft>
                <a:defRPr/>
              </a:pPr>
              <a:r>
                <a:rPr lang="en-US" sz="800"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18762">
                <a:lnSpc>
                  <a:spcPct val="90000"/>
                </a:lnSpc>
                <a:spcAft>
                  <a:spcPts val="267"/>
                </a:spcAft>
                <a:defRPr/>
              </a:pPr>
              <a:r>
                <a:rPr lang="en-US" sz="600" dirty="0">
                  <a:gradFill>
                    <a:gsLst>
                      <a:gs pos="28455">
                        <a:srgbClr val="3F3F3F"/>
                      </a:gs>
                      <a:gs pos="69000">
                        <a:srgbClr val="3F3F3F"/>
                      </a:gs>
                    </a:gsLst>
                    <a:lin ang="10800000" scaled="0"/>
                  </a:gradFill>
                  <a:latin typeface="Segoe UI"/>
                  <a:cs typeface="Segoe UI Semibold" panose="020B0702040204020203" pitchFamily="34" charset="0"/>
                </a:rPr>
                <a:t>First, let’s point out that there is not one absolute answer—there are “pros” and “cons” </a:t>
              </a:r>
              <a:br>
                <a:rPr lang="en-US" sz="600" dirty="0">
                  <a:gradFill>
                    <a:gsLst>
                      <a:gs pos="28455">
                        <a:srgbClr val="3F3F3F"/>
                      </a:gs>
                      <a:gs pos="69000">
                        <a:srgbClr val="3F3F3F"/>
                      </a:gs>
                    </a:gsLst>
                    <a:lin ang="10800000" scaled="0"/>
                  </a:gradFill>
                  <a:latin typeface="Segoe UI"/>
                  <a:cs typeface="Segoe UI Semibold" panose="020B0702040204020203" pitchFamily="34" charset="0"/>
                </a:rPr>
              </a:br>
              <a:r>
                <a:rPr lang="en-US" sz="600" dirty="0">
                  <a:gradFill>
                    <a:gsLst>
                      <a:gs pos="28455">
                        <a:srgbClr val="3F3F3F"/>
                      </a:gs>
                      <a:gs pos="69000">
                        <a:srgbClr val="3F3F3F"/>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6" tIns="24376" rIns="36566" bIns="24376" numCol="1" spcCol="0" rtlCol="0" fromWordArt="0" anchor="t" anchorCtr="0" forceAA="0" compatLnSpc="1">
              <a:prstTxWarp prst="textNoShape">
                <a:avLst/>
              </a:prstTxWarp>
              <a:noAutofit/>
            </a:bodyPr>
            <a:lstStyle/>
            <a:p>
              <a:pPr defTabSz="1218762">
                <a:lnSpc>
                  <a:spcPct val="90000"/>
                </a:lnSpc>
                <a:spcAft>
                  <a:spcPts val="267"/>
                </a:spcAft>
                <a:defRPr/>
              </a:pPr>
              <a:r>
                <a:rPr lang="en-US" sz="800" dirty="0">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18762">
                <a:lnSpc>
                  <a:spcPct val="90000"/>
                </a:lnSpc>
                <a:spcAft>
                  <a:spcPts val="267"/>
                </a:spcAft>
                <a:defRPr/>
              </a:pPr>
              <a:r>
                <a:rPr lang="en-US" sz="600" dirty="0">
                  <a:gradFill>
                    <a:gsLst>
                      <a:gs pos="28455">
                        <a:srgbClr val="3F3F3F"/>
                      </a:gs>
                      <a:gs pos="69000">
                        <a:srgbClr val="3F3F3F"/>
                      </a:gs>
                    </a:gsLst>
                    <a:lin ang="10800000" scaled="0"/>
                  </a:gradFill>
                  <a:latin typeface="Segoe UI"/>
                  <a:cs typeface="Segoe UI Semibold" panose="020B0702040204020203" pitchFamily="34" charset="0"/>
                </a:rPr>
                <a:t>Michael heads fraud prevention tool. Online </a:t>
              </a:r>
              <a:br>
                <a:rPr lang="en-US" sz="600" dirty="0">
                  <a:gradFill>
                    <a:gsLst>
                      <a:gs pos="28455">
                        <a:srgbClr val="3F3F3F"/>
                      </a:gs>
                      <a:gs pos="69000">
                        <a:srgbClr val="3F3F3F"/>
                      </a:gs>
                    </a:gsLst>
                    <a:lin ang="10800000" scaled="0"/>
                  </a:gradFill>
                  <a:latin typeface="Segoe UI"/>
                  <a:cs typeface="Segoe UI Semibold" panose="020B0702040204020203" pitchFamily="34" charset="0"/>
                </a:rPr>
              </a:br>
              <a:r>
                <a:rPr lang="en-US" sz="600" dirty="0">
                  <a:gradFill>
                    <a:gsLst>
                      <a:gs pos="28455">
                        <a:srgbClr val="3F3F3F"/>
                      </a:gs>
                      <a:gs pos="69000">
                        <a:srgbClr val="3F3F3F"/>
                      </a:gs>
                    </a:gsLst>
                    <a:lin ang="10800000" scaled="0"/>
                  </a:gradFill>
                  <a:latin typeface="Segoe UI"/>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529031" y="1187941"/>
            <a:ext cx="2299769" cy="649442"/>
            <a:chOff x="9529517" y="1187622"/>
            <a:chExt cx="2300095" cy="649534"/>
          </a:xfrm>
          <a:solidFill>
            <a:schemeClr val="accent3"/>
          </a:solidFill>
        </p:grpSpPr>
        <p:sp>
          <p:nvSpPr>
            <p:cNvPr id="83" name="Freeform 97"/>
            <p:cNvSpPr/>
            <p:nvPr/>
          </p:nvSpPr>
          <p:spPr bwMode="auto">
            <a:xfrm>
              <a:off x="9529517"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a:solidFill>
                    <a:srgbClr val="FFFFFF"/>
                  </a:solidFill>
                  <a:latin typeface="Segoe UI Semibold" panose="020B0702040204020203" pitchFamily="34" charset="0"/>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a:noFill/>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34040" y="2037408"/>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187706" y="2032646"/>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437554" y="2037408"/>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703276" y="2037408"/>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887064" y="2024709"/>
            <a:ext cx="932785" cy="2093903"/>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endParaRPr lang="en-US" sz="900" dirty="0">
                <a:gradFill>
                  <a:gsLst>
                    <a:gs pos="0">
                      <a:srgbClr val="505050"/>
                    </a:gs>
                    <a:gs pos="100000">
                      <a:srgbClr val="505050"/>
                    </a:gs>
                  </a:gsLst>
                  <a:lin ang="5400000" scaled="1"/>
                </a:gradFill>
                <a:latin typeface="Segoe UI"/>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411356" y="3676433"/>
            <a:ext cx="1875656" cy="182872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v="urn:schemas-microsoft-com: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8" ma:contentTypeDescription="" ma:contentTypeScope="" ma:versionID="89820f8793a6ca73003c656d7991e932">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d4fe6f4c1c2f9fef057ecaf6d3d71565"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element ref="ns5:MediaServiceEventHashCode" minOccurs="0"/>
                <xsd:element ref="ns5: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EventHashCode" ma:index="43" nillable="true" ma:displayName="MediaServiceEventHashCode" ma:hidden="true" ma:internalName="MediaServiceEventHashCode" ma:readOnly="true">
      <xsd:simpleType>
        <xsd:restriction base="dms:Text"/>
      </xsd:simpleType>
    </xsd:element>
    <xsd:element name="MediaServiceGenerationTime" ma:index="44"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 xsi:nil="tru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THR2110</Session_x0020_Cod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 xsi:nil="tru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CCCDF05-C449-4F5A-97DA-0C223D536B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5a4b3278-325d-441a-b38f-6f1926bc734e"/>
    <ds:schemaRef ds:uri="http://purl.org/dc/terms/"/>
    <ds:schemaRef ds:uri="http://schemas.microsoft.com/office/2006/documentManagement/types"/>
    <ds:schemaRef ds:uri="http://purl.org/dc/dcmitype/"/>
    <ds:schemaRef ds:uri="http://purl.org/dc/elements/1.1/"/>
    <ds:schemaRef ds:uri="http://schemas.microsoft.com/office/2006/metadata/properties"/>
    <ds:schemaRef ds:uri="http://schemas.microsoft.com/office/infopath/2007/PartnerControls"/>
    <ds:schemaRef ds:uri="230e9df3-be65-4c73-a93b-d1236ebd677e"/>
    <ds:schemaRef ds:uri="http://schemas.microsoft.com/sharepoint/v3"/>
    <ds:schemaRef ds:uri="http://schemas.openxmlformats.org/package/2006/metadata/core-properties"/>
    <ds:schemaRef ds:uri="9d1f81f6-e953-47ea-988e-33ed651c58e6"/>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3847</TotalTime>
  <Words>8471</Words>
  <Application>Microsoft Office PowerPoint</Application>
  <PresentationFormat>Widescreen</PresentationFormat>
  <Paragraphs>963</Paragraphs>
  <Slides>75</Slides>
  <Notes>74</Notes>
  <HiddenSlides>1</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5</vt:i4>
      </vt:variant>
    </vt:vector>
  </HeadingPairs>
  <TitlesOfParts>
    <vt:vector size="88" baseType="lpstr">
      <vt:lpstr>Arial</vt:lpstr>
      <vt:lpstr>Calibri</vt:lpstr>
      <vt:lpstr>Consolas</vt:lpstr>
      <vt:lpstr>Rockwell Condensed</vt:lpstr>
      <vt:lpstr>Segoe UI</vt:lpstr>
      <vt:lpstr>Segoe UI Light</vt:lpstr>
      <vt:lpstr>Segoe UI Semibold</vt:lpstr>
      <vt:lpstr>Segoe UI Semilight</vt:lpstr>
      <vt:lpstr>wf_segoe-ui_normal</vt:lpstr>
      <vt:lpstr>Wingdings</vt:lpstr>
      <vt:lpstr>5-50203_Microsoft_Ignite_Template</vt:lpstr>
      <vt:lpstr>1_5-50203_Microsoft_Ignite_Template</vt:lpstr>
      <vt:lpstr>think-cell Slide</vt:lpstr>
      <vt:lpstr>PowerPoint Presentation</vt:lpstr>
      <vt:lpstr>Introduction to  Azure Cognitive Services</vt:lpstr>
      <vt:lpstr>The Azure AI Landscape</vt:lpstr>
      <vt:lpstr>PowerPoint Presentation</vt:lpstr>
      <vt:lpstr>Microsoft Cognitive Services Give your apps a human side</vt:lpstr>
      <vt:lpstr>Microsoft Cognitive Services</vt:lpstr>
      <vt:lpstr>PowerPoint Presentation</vt:lpstr>
      <vt:lpstr>Why Microsoft  Cognitive Services?</vt:lpstr>
      <vt:lpstr>Combining Services for real-world applications</vt:lpstr>
      <vt:lpstr>PowerPoint Presentation</vt:lpstr>
      <vt:lpstr>PowerPoint Presentation</vt:lpstr>
      <vt:lpstr>PowerPoint Presentation</vt:lpstr>
      <vt:lpstr>PowerPoint Presentation</vt:lpstr>
      <vt:lpstr>PowerPoint Presentation</vt:lpstr>
      <vt:lpstr>PowerPoint Presentation</vt:lpstr>
      <vt:lpstr>DEMONSTRATIONS</vt:lpstr>
      <vt:lpstr>VISION</vt:lpstr>
      <vt:lpstr>Computer  Vision API</vt:lpstr>
      <vt:lpstr>Analyze image </vt:lpstr>
      <vt:lpstr>OCR</vt:lpstr>
      <vt:lpstr>OCR</vt:lpstr>
      <vt:lpstr>OCR</vt:lpstr>
      <vt:lpstr>Smart  thumbnail</vt:lpstr>
      <vt:lpstr>PowerPoint Presentation</vt:lpstr>
      <vt:lpstr>PowerPoint Presentation</vt:lpstr>
      <vt:lpstr>Emotion API</vt:lpstr>
      <vt:lpstr>Emotion API</vt:lpstr>
      <vt:lpstr>Face API</vt:lpstr>
      <vt:lpstr>Face API</vt:lpstr>
      <vt:lpstr>Content Moderator Machine-assisted moderation of  text and images, augmented with  human review tools</vt:lpstr>
      <vt:lpstr>Custom Vision Service A customizable web service that learns  to recognize specific content in imagery </vt:lpstr>
      <vt:lpstr>Video Indexer Unlock video insights</vt:lpstr>
      <vt:lpstr>SPEECH</vt:lpstr>
      <vt:lpstr>Bing Speech API</vt:lpstr>
      <vt:lpstr>PowerPoint Presentation</vt:lpstr>
      <vt:lpstr>Custom Speech  Service</vt:lpstr>
      <vt:lpstr>Custom Speech Service</vt:lpstr>
      <vt:lpstr>PowerPoint Presentation</vt:lpstr>
      <vt:lpstr>Speaker  Recognition API</vt:lpstr>
      <vt:lpstr>Speaker  Recognition API</vt:lpstr>
      <vt:lpstr>LANGUAGE</vt:lpstr>
      <vt:lpstr>Bing spell check  API</vt:lpstr>
      <vt:lpstr>Bing spell check  API</vt:lpstr>
      <vt:lpstr>Language  Understanding  Intelligent Service</vt:lpstr>
      <vt:lpstr>Language  Understanding  Intelligent Service</vt:lpstr>
      <vt:lpstr>Language  understanding  models</vt:lpstr>
      <vt:lpstr>PowerPoint Presentation</vt:lpstr>
      <vt:lpstr>Linguistic analysis</vt:lpstr>
      <vt:lpstr>Linguistic analysis</vt:lpstr>
      <vt:lpstr>Text analytics</vt:lpstr>
      <vt:lpstr>Web language  model</vt:lpstr>
      <vt:lpstr>Microsoft  Translator</vt:lpstr>
      <vt:lpstr>KNOWLEDGE</vt:lpstr>
      <vt:lpstr>Academic  knowledge</vt:lpstr>
      <vt:lpstr>Entity linking</vt:lpstr>
      <vt:lpstr>Knowledge  exploration</vt:lpstr>
      <vt:lpstr>Recommendations</vt:lpstr>
      <vt:lpstr>PowerPoint Presentation</vt:lpstr>
      <vt:lpstr>PowerPoint Presentation</vt:lpstr>
      <vt:lpstr>QnA Maker</vt:lpstr>
      <vt:lpstr>Custom  Decision Service</vt:lpstr>
      <vt:lpstr>PowerPoint Presentation</vt:lpstr>
      <vt:lpstr>SEARCH</vt:lpstr>
      <vt:lpstr>Bing web search</vt:lpstr>
      <vt:lpstr>Bing image search</vt:lpstr>
      <vt:lpstr>Bing video search</vt:lpstr>
      <vt:lpstr>Bing news search</vt:lpstr>
      <vt:lpstr>Bing autosuggest</vt:lpstr>
      <vt:lpstr>Bing custom search</vt:lpstr>
      <vt:lpstr>Bing entity search</vt:lpstr>
      <vt:lpstr>PowerPoint Presentation</vt:lpstr>
      <vt:lpstr>DEVELOPER  RESOURCES</vt:lpstr>
      <vt:lpstr>Resources, Tutorials &amp; Demos</vt:lpstr>
      <vt:lpstr>Q&amp;A</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2110</dc:title>
  <dc:subject>Microsoft Ignite</dc:subject>
  <dc:creator>Brieanne Vanderpool</dc:creator>
  <cp:keywords>Microsoft Ignite</cp:keywords>
  <dc:description/>
  <cp:lastModifiedBy>Nithin Mohan Thattiot Kadumberi</cp:lastModifiedBy>
  <cp:revision>47</cp:revision>
  <dcterms:created xsi:type="dcterms:W3CDTF">2018-08-10T17:04:28Z</dcterms:created>
  <dcterms:modified xsi:type="dcterms:W3CDTF">2018-12-12T22:18:24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